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7" r:id="rId1"/>
    <p:sldMasterId id="2147483664" r:id="rId2"/>
  </p:sldMasterIdLst>
  <p:notesMasterIdLst>
    <p:notesMasterId r:id="rId6"/>
  </p:notesMasterIdLst>
  <p:sldIdLst>
    <p:sldId id="1456" r:id="rId3"/>
    <p:sldId id="1454" r:id="rId4"/>
    <p:sldId id="262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5A8A3"/>
    <a:srgbClr val="ED8513"/>
    <a:srgbClr val="8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AEE38F5-B2ED-E66E-E6B7-10F9DC9A30C7}" v="1152" dt="2020-08-25T10:52:23.416"/>
    <p1510:client id="{B33A2E55-5D1B-0501-63CC-D6A13B64BCEA}" v="114" dt="2020-08-25T09:35:16.986"/>
    <p1510:client id="{C03542C6-52D0-A58A-E9D2-F4BDC5657769}" v="58" dt="2020-08-25T09:42:44.36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3" d="100"/>
          <a:sy n="73" d="100"/>
        </p:scale>
        <p:origin x="618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microsoft.com/office/2015/10/relationships/revisionInfo" Target="revisionInfo.xml"/><Relationship Id="rId5" Type="http://schemas.openxmlformats.org/officeDocument/2006/relationships/slide" Target="slides/slide3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1FCC74-5582-4669-AFA0-4605DC5BFF20}" type="datetimeFigureOut">
              <a:rPr lang="en-GB" smtClean="0"/>
              <a:t>25/08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732872-D1D0-4D50-8E48-86573F74DFC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47937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2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microsoft.com/office/2007/relationships/hdphoto" Target="../media/hdphoto1.wdp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21627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5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57729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676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3267543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45706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6900944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5935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0822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27843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3860EF22-02D3-4236-A83B-FF257182261B}"/>
              </a:ext>
            </a:extLst>
          </p:cNvPr>
          <p:cNvGrpSpPr/>
          <p:nvPr userDrawn="1"/>
        </p:nvGrpSpPr>
        <p:grpSpPr>
          <a:xfrm>
            <a:off x="5546576" y="1025114"/>
            <a:ext cx="6528368" cy="5276420"/>
            <a:chOff x="2422004" y="350838"/>
            <a:chExt cx="6923213" cy="5855007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90BE681-7471-4F3A-8235-8DAAA3566F90}"/>
                </a:ext>
              </a:extLst>
            </p:cNvPr>
            <p:cNvGrpSpPr/>
            <p:nvPr/>
          </p:nvGrpSpPr>
          <p:grpSpPr>
            <a:xfrm>
              <a:off x="3698925" y="1485639"/>
              <a:ext cx="2413154" cy="1596293"/>
              <a:chOff x="-10442575" y="179388"/>
              <a:chExt cx="9313863" cy="6161087"/>
            </a:xfrm>
          </p:grpSpPr>
          <p:sp>
            <p:nvSpPr>
              <p:cNvPr id="82" name="Freeform 566">
                <a:extLst>
                  <a:ext uri="{FF2B5EF4-FFF2-40B4-BE49-F238E27FC236}">
                    <a16:creationId xmlns:a16="http://schemas.microsoft.com/office/drawing/2014/main" id="{6A1C5755-03CD-4598-83C4-35BC20DA63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213975" y="1098550"/>
                <a:ext cx="9085263" cy="5241925"/>
              </a:xfrm>
              <a:custGeom>
                <a:avLst/>
                <a:gdLst>
                  <a:gd name="T0" fmla="*/ 408 w 672"/>
                  <a:gd name="T1" fmla="*/ 386 h 388"/>
                  <a:gd name="T2" fmla="*/ 4 w 672"/>
                  <a:gd name="T3" fmla="*/ 153 h 388"/>
                  <a:gd name="T4" fmla="*/ 6 w 672"/>
                  <a:gd name="T5" fmla="*/ 142 h 388"/>
                  <a:gd name="T6" fmla="*/ 246 w 672"/>
                  <a:gd name="T7" fmla="*/ 4 h 388"/>
                  <a:gd name="T8" fmla="*/ 264 w 672"/>
                  <a:gd name="T9" fmla="*/ 3 h 388"/>
                  <a:gd name="T10" fmla="*/ 668 w 672"/>
                  <a:gd name="T11" fmla="*/ 236 h 388"/>
                  <a:gd name="T12" fmla="*/ 666 w 672"/>
                  <a:gd name="T13" fmla="*/ 246 h 388"/>
                  <a:gd name="T14" fmla="*/ 426 w 672"/>
                  <a:gd name="T15" fmla="*/ 385 h 388"/>
                  <a:gd name="T16" fmla="*/ 408 w 672"/>
                  <a:gd name="T17" fmla="*/ 386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2" h="388">
                    <a:moveTo>
                      <a:pt x="408" y="386"/>
                    </a:moveTo>
                    <a:cubicBezTo>
                      <a:pt x="4" y="153"/>
                      <a:pt x="4" y="153"/>
                      <a:pt x="4" y="153"/>
                    </a:cubicBezTo>
                    <a:cubicBezTo>
                      <a:pt x="0" y="150"/>
                      <a:pt x="0" y="145"/>
                      <a:pt x="6" y="142"/>
                    </a:cubicBezTo>
                    <a:cubicBezTo>
                      <a:pt x="246" y="4"/>
                      <a:pt x="246" y="4"/>
                      <a:pt x="246" y="4"/>
                    </a:cubicBezTo>
                    <a:cubicBezTo>
                      <a:pt x="251" y="0"/>
                      <a:pt x="260" y="0"/>
                      <a:pt x="264" y="3"/>
                    </a:cubicBezTo>
                    <a:cubicBezTo>
                      <a:pt x="668" y="236"/>
                      <a:pt x="668" y="236"/>
                      <a:pt x="668" y="236"/>
                    </a:cubicBezTo>
                    <a:cubicBezTo>
                      <a:pt x="672" y="238"/>
                      <a:pt x="672" y="243"/>
                      <a:pt x="666" y="246"/>
                    </a:cubicBezTo>
                    <a:cubicBezTo>
                      <a:pt x="426" y="385"/>
                      <a:pt x="426" y="385"/>
                      <a:pt x="426" y="385"/>
                    </a:cubicBezTo>
                    <a:cubicBezTo>
                      <a:pt x="420" y="388"/>
                      <a:pt x="412" y="388"/>
                      <a:pt x="408" y="386"/>
                    </a:cubicBezTo>
                  </a:path>
                </a:pathLst>
              </a:custGeom>
              <a:solidFill>
                <a:srgbClr val="9C319F">
                  <a:lumMod val="50000"/>
                  <a:alpha val="7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3" name="Freeform 567">
                <a:extLst>
                  <a:ext uri="{FF2B5EF4-FFF2-40B4-BE49-F238E27FC236}">
                    <a16:creationId xmlns:a16="http://schemas.microsoft.com/office/drawing/2014/main" id="{E203DAE3-FB97-4FE7-A0F6-D23F59A22A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429875" y="382588"/>
                <a:ext cx="9286875" cy="5308600"/>
              </a:xfrm>
              <a:custGeom>
                <a:avLst/>
                <a:gdLst>
                  <a:gd name="T0" fmla="*/ 687 w 687"/>
                  <a:gd name="T1" fmla="*/ 228 h 393"/>
                  <a:gd name="T2" fmla="*/ 670 w 687"/>
                  <a:gd name="T3" fmla="*/ 231 h 393"/>
                  <a:gd name="T4" fmla="*/ 275 w 687"/>
                  <a:gd name="T5" fmla="*/ 3 h 393"/>
                  <a:gd name="T6" fmla="*/ 256 w 687"/>
                  <a:gd name="T7" fmla="*/ 4 h 393"/>
                  <a:gd name="T8" fmla="*/ 30 w 687"/>
                  <a:gd name="T9" fmla="*/ 134 h 393"/>
                  <a:gd name="T10" fmla="*/ 0 w 687"/>
                  <a:gd name="T11" fmla="*/ 139 h 393"/>
                  <a:gd name="T12" fmla="*/ 0 w 687"/>
                  <a:gd name="T13" fmla="*/ 149 h 393"/>
                  <a:gd name="T14" fmla="*/ 0 w 687"/>
                  <a:gd name="T15" fmla="*/ 149 h 393"/>
                  <a:gd name="T16" fmla="*/ 4 w 687"/>
                  <a:gd name="T17" fmla="*/ 154 h 393"/>
                  <a:gd name="T18" fmla="*/ 412 w 687"/>
                  <a:gd name="T19" fmla="*/ 390 h 393"/>
                  <a:gd name="T20" fmla="*/ 431 w 687"/>
                  <a:gd name="T21" fmla="*/ 389 h 393"/>
                  <a:gd name="T22" fmla="*/ 682 w 687"/>
                  <a:gd name="T23" fmla="*/ 244 h 393"/>
                  <a:gd name="T24" fmla="*/ 687 w 687"/>
                  <a:gd name="T25" fmla="*/ 238 h 393"/>
                  <a:gd name="T26" fmla="*/ 687 w 687"/>
                  <a:gd name="T27" fmla="*/ 238 h 393"/>
                  <a:gd name="T28" fmla="*/ 687 w 687"/>
                  <a:gd name="T29" fmla="*/ 228 h 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87" h="393">
                    <a:moveTo>
                      <a:pt x="687" y="228"/>
                    </a:moveTo>
                    <a:cubicBezTo>
                      <a:pt x="670" y="231"/>
                      <a:pt x="670" y="231"/>
                      <a:pt x="670" y="231"/>
                    </a:cubicBezTo>
                    <a:cubicBezTo>
                      <a:pt x="275" y="3"/>
                      <a:pt x="275" y="3"/>
                      <a:pt x="275" y="3"/>
                    </a:cubicBezTo>
                    <a:cubicBezTo>
                      <a:pt x="270" y="0"/>
                      <a:pt x="261" y="1"/>
                      <a:pt x="256" y="4"/>
                    </a:cubicBezTo>
                    <a:cubicBezTo>
                      <a:pt x="30" y="134"/>
                      <a:pt x="30" y="134"/>
                      <a:pt x="30" y="134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0" y="151"/>
                      <a:pt x="1" y="153"/>
                      <a:pt x="4" y="154"/>
                    </a:cubicBezTo>
                    <a:cubicBezTo>
                      <a:pt x="412" y="390"/>
                      <a:pt x="412" y="390"/>
                      <a:pt x="412" y="390"/>
                    </a:cubicBezTo>
                    <a:cubicBezTo>
                      <a:pt x="417" y="393"/>
                      <a:pt x="426" y="392"/>
                      <a:pt x="431" y="389"/>
                    </a:cubicBezTo>
                    <a:cubicBezTo>
                      <a:pt x="682" y="244"/>
                      <a:pt x="682" y="244"/>
                      <a:pt x="682" y="244"/>
                    </a:cubicBezTo>
                    <a:cubicBezTo>
                      <a:pt x="685" y="243"/>
                      <a:pt x="687" y="240"/>
                      <a:pt x="687" y="238"/>
                    </a:cubicBezTo>
                    <a:cubicBezTo>
                      <a:pt x="687" y="238"/>
                      <a:pt x="687" y="238"/>
                      <a:pt x="687" y="238"/>
                    </a:cubicBezTo>
                    <a:cubicBezTo>
                      <a:pt x="687" y="228"/>
                      <a:pt x="687" y="228"/>
                      <a:pt x="687" y="228"/>
                    </a:cubicBezTo>
                  </a:path>
                </a:pathLst>
              </a:custGeom>
              <a:solidFill>
                <a:srgbClr val="312A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4" name="Freeform 568">
                <a:extLst>
                  <a:ext uri="{FF2B5EF4-FFF2-40B4-BE49-F238E27FC236}">
                    <a16:creationId xmlns:a16="http://schemas.microsoft.com/office/drawing/2014/main" id="{96CF7441-D3D9-4841-A808-8CDAB98A88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429875" y="395288"/>
                <a:ext cx="9286875" cy="5283200"/>
              </a:xfrm>
              <a:custGeom>
                <a:avLst/>
                <a:gdLst>
                  <a:gd name="T0" fmla="*/ 267 w 687"/>
                  <a:gd name="T1" fmla="*/ 0 h 391"/>
                  <a:gd name="T2" fmla="*/ 256 w 687"/>
                  <a:gd name="T3" fmla="*/ 3 h 391"/>
                  <a:gd name="T4" fmla="*/ 30 w 687"/>
                  <a:gd name="T5" fmla="*/ 133 h 391"/>
                  <a:gd name="T6" fmla="*/ 0 w 687"/>
                  <a:gd name="T7" fmla="*/ 138 h 391"/>
                  <a:gd name="T8" fmla="*/ 0 w 687"/>
                  <a:gd name="T9" fmla="*/ 148 h 391"/>
                  <a:gd name="T10" fmla="*/ 0 w 687"/>
                  <a:gd name="T11" fmla="*/ 148 h 391"/>
                  <a:gd name="T12" fmla="*/ 0 w 687"/>
                  <a:gd name="T13" fmla="*/ 148 h 391"/>
                  <a:gd name="T14" fmla="*/ 0 w 687"/>
                  <a:gd name="T15" fmla="*/ 148 h 391"/>
                  <a:gd name="T16" fmla="*/ 4 w 687"/>
                  <a:gd name="T17" fmla="*/ 153 h 391"/>
                  <a:gd name="T18" fmla="*/ 412 w 687"/>
                  <a:gd name="T19" fmla="*/ 389 h 391"/>
                  <a:gd name="T20" fmla="*/ 421 w 687"/>
                  <a:gd name="T21" fmla="*/ 391 h 391"/>
                  <a:gd name="T22" fmla="*/ 431 w 687"/>
                  <a:gd name="T23" fmla="*/ 388 h 391"/>
                  <a:gd name="T24" fmla="*/ 682 w 687"/>
                  <a:gd name="T25" fmla="*/ 243 h 391"/>
                  <a:gd name="T26" fmla="*/ 687 w 687"/>
                  <a:gd name="T27" fmla="*/ 237 h 391"/>
                  <a:gd name="T28" fmla="*/ 687 w 687"/>
                  <a:gd name="T29" fmla="*/ 237 h 391"/>
                  <a:gd name="T30" fmla="*/ 687 w 687"/>
                  <a:gd name="T31" fmla="*/ 227 h 391"/>
                  <a:gd name="T32" fmla="*/ 670 w 687"/>
                  <a:gd name="T33" fmla="*/ 230 h 391"/>
                  <a:gd name="T34" fmla="*/ 275 w 687"/>
                  <a:gd name="T35" fmla="*/ 2 h 391"/>
                  <a:gd name="T36" fmla="*/ 267 w 687"/>
                  <a:gd name="T37" fmla="*/ 0 h 3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87" h="391">
                    <a:moveTo>
                      <a:pt x="267" y="0"/>
                    </a:moveTo>
                    <a:cubicBezTo>
                      <a:pt x="263" y="0"/>
                      <a:pt x="259" y="1"/>
                      <a:pt x="256" y="3"/>
                    </a:cubicBezTo>
                    <a:cubicBezTo>
                      <a:pt x="30" y="133"/>
                      <a:pt x="30" y="133"/>
                      <a:pt x="30" y="133"/>
                    </a:cubicBezTo>
                    <a:cubicBezTo>
                      <a:pt x="0" y="138"/>
                      <a:pt x="0" y="138"/>
                      <a:pt x="0" y="138"/>
                    </a:cubicBezTo>
                    <a:cubicBezTo>
                      <a:pt x="0" y="148"/>
                      <a:pt x="0" y="148"/>
                      <a:pt x="0" y="148"/>
                    </a:cubicBezTo>
                    <a:cubicBezTo>
                      <a:pt x="0" y="148"/>
                      <a:pt x="0" y="148"/>
                      <a:pt x="0" y="148"/>
                    </a:cubicBezTo>
                    <a:cubicBezTo>
                      <a:pt x="0" y="148"/>
                      <a:pt x="0" y="148"/>
                      <a:pt x="0" y="148"/>
                    </a:cubicBezTo>
                    <a:cubicBezTo>
                      <a:pt x="0" y="148"/>
                      <a:pt x="0" y="148"/>
                      <a:pt x="0" y="148"/>
                    </a:cubicBezTo>
                    <a:cubicBezTo>
                      <a:pt x="0" y="150"/>
                      <a:pt x="1" y="152"/>
                      <a:pt x="4" y="153"/>
                    </a:cubicBezTo>
                    <a:cubicBezTo>
                      <a:pt x="412" y="389"/>
                      <a:pt x="412" y="389"/>
                      <a:pt x="412" y="389"/>
                    </a:cubicBezTo>
                    <a:cubicBezTo>
                      <a:pt x="414" y="390"/>
                      <a:pt x="417" y="391"/>
                      <a:pt x="421" y="391"/>
                    </a:cubicBezTo>
                    <a:cubicBezTo>
                      <a:pt x="424" y="391"/>
                      <a:pt x="428" y="390"/>
                      <a:pt x="431" y="388"/>
                    </a:cubicBezTo>
                    <a:cubicBezTo>
                      <a:pt x="682" y="243"/>
                      <a:pt x="682" y="243"/>
                      <a:pt x="682" y="243"/>
                    </a:cubicBezTo>
                    <a:cubicBezTo>
                      <a:pt x="685" y="242"/>
                      <a:pt x="687" y="239"/>
                      <a:pt x="687" y="237"/>
                    </a:cubicBezTo>
                    <a:cubicBezTo>
                      <a:pt x="687" y="237"/>
                      <a:pt x="687" y="237"/>
                      <a:pt x="687" y="237"/>
                    </a:cubicBezTo>
                    <a:cubicBezTo>
                      <a:pt x="687" y="227"/>
                      <a:pt x="687" y="227"/>
                      <a:pt x="687" y="227"/>
                    </a:cubicBezTo>
                    <a:cubicBezTo>
                      <a:pt x="670" y="230"/>
                      <a:pt x="670" y="230"/>
                      <a:pt x="670" y="230"/>
                    </a:cubicBezTo>
                    <a:cubicBezTo>
                      <a:pt x="275" y="2"/>
                      <a:pt x="275" y="2"/>
                      <a:pt x="275" y="2"/>
                    </a:cubicBezTo>
                    <a:cubicBezTo>
                      <a:pt x="273" y="1"/>
                      <a:pt x="270" y="0"/>
                      <a:pt x="267" y="0"/>
                    </a:cubicBezTo>
                  </a:path>
                </a:pathLst>
              </a:custGeom>
              <a:solidFill>
                <a:srgbClr val="9C319F">
                  <a:lumMod val="5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" name="Freeform 569">
                <a:extLst>
                  <a:ext uri="{FF2B5EF4-FFF2-40B4-BE49-F238E27FC236}">
                    <a16:creationId xmlns:a16="http://schemas.microsoft.com/office/drawing/2014/main" id="{B3ED47FA-7285-445E-A2D1-8E6F7A13B2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429875" y="2314575"/>
                <a:ext cx="9286875" cy="3322637"/>
              </a:xfrm>
              <a:custGeom>
                <a:avLst/>
                <a:gdLst>
                  <a:gd name="T0" fmla="*/ 682 w 687"/>
                  <a:gd name="T1" fmla="*/ 95 h 246"/>
                  <a:gd name="T2" fmla="*/ 431 w 687"/>
                  <a:gd name="T3" fmla="*/ 240 h 246"/>
                  <a:gd name="T4" fmla="*/ 412 w 687"/>
                  <a:gd name="T5" fmla="*/ 241 h 246"/>
                  <a:gd name="T6" fmla="*/ 4 w 687"/>
                  <a:gd name="T7" fmla="*/ 5 h 246"/>
                  <a:gd name="T8" fmla="*/ 0 w 687"/>
                  <a:gd name="T9" fmla="*/ 0 h 246"/>
                  <a:gd name="T10" fmla="*/ 0 w 687"/>
                  <a:gd name="T11" fmla="*/ 0 h 246"/>
                  <a:gd name="T12" fmla="*/ 0 w 687"/>
                  <a:gd name="T13" fmla="*/ 3 h 246"/>
                  <a:gd name="T14" fmla="*/ 0 w 687"/>
                  <a:gd name="T15" fmla="*/ 3 h 246"/>
                  <a:gd name="T16" fmla="*/ 4 w 687"/>
                  <a:gd name="T17" fmla="*/ 7 h 246"/>
                  <a:gd name="T18" fmla="*/ 412 w 687"/>
                  <a:gd name="T19" fmla="*/ 243 h 246"/>
                  <a:gd name="T20" fmla="*/ 431 w 687"/>
                  <a:gd name="T21" fmla="*/ 243 h 246"/>
                  <a:gd name="T22" fmla="*/ 682 w 687"/>
                  <a:gd name="T23" fmla="*/ 98 h 246"/>
                  <a:gd name="T24" fmla="*/ 687 w 687"/>
                  <a:gd name="T25" fmla="*/ 92 h 246"/>
                  <a:gd name="T26" fmla="*/ 687 w 687"/>
                  <a:gd name="T27" fmla="*/ 92 h 246"/>
                  <a:gd name="T28" fmla="*/ 687 w 687"/>
                  <a:gd name="T29" fmla="*/ 89 h 246"/>
                  <a:gd name="T30" fmla="*/ 687 w 687"/>
                  <a:gd name="T31" fmla="*/ 89 h 246"/>
                  <a:gd name="T32" fmla="*/ 682 w 687"/>
                  <a:gd name="T33" fmla="*/ 95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87" h="246">
                    <a:moveTo>
                      <a:pt x="682" y="95"/>
                    </a:moveTo>
                    <a:cubicBezTo>
                      <a:pt x="431" y="240"/>
                      <a:pt x="431" y="240"/>
                      <a:pt x="431" y="240"/>
                    </a:cubicBezTo>
                    <a:cubicBezTo>
                      <a:pt x="426" y="243"/>
                      <a:pt x="417" y="244"/>
                      <a:pt x="412" y="241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" y="4"/>
                      <a:pt x="0" y="2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1" y="6"/>
                      <a:pt x="4" y="7"/>
                    </a:cubicBezTo>
                    <a:cubicBezTo>
                      <a:pt x="412" y="243"/>
                      <a:pt x="412" y="243"/>
                      <a:pt x="412" y="243"/>
                    </a:cubicBezTo>
                    <a:cubicBezTo>
                      <a:pt x="417" y="246"/>
                      <a:pt x="426" y="246"/>
                      <a:pt x="431" y="243"/>
                    </a:cubicBezTo>
                    <a:cubicBezTo>
                      <a:pt x="682" y="98"/>
                      <a:pt x="682" y="98"/>
                      <a:pt x="682" y="98"/>
                    </a:cubicBezTo>
                    <a:cubicBezTo>
                      <a:pt x="685" y="96"/>
                      <a:pt x="687" y="94"/>
                      <a:pt x="687" y="92"/>
                    </a:cubicBezTo>
                    <a:cubicBezTo>
                      <a:pt x="687" y="92"/>
                      <a:pt x="687" y="92"/>
                      <a:pt x="687" y="92"/>
                    </a:cubicBezTo>
                    <a:cubicBezTo>
                      <a:pt x="687" y="89"/>
                      <a:pt x="687" y="89"/>
                      <a:pt x="687" y="89"/>
                    </a:cubicBezTo>
                    <a:cubicBezTo>
                      <a:pt x="687" y="89"/>
                      <a:pt x="687" y="89"/>
                      <a:pt x="687" y="89"/>
                    </a:cubicBezTo>
                    <a:cubicBezTo>
                      <a:pt x="687" y="91"/>
                      <a:pt x="685" y="94"/>
                      <a:pt x="682" y="95"/>
                    </a:cubicBezTo>
                    <a:close/>
                  </a:path>
                </a:pathLst>
              </a:custGeom>
              <a:gradFill>
                <a:gsLst>
                  <a:gs pos="0">
                    <a:srgbClr val="9C319F">
                      <a:lumMod val="60000"/>
                      <a:lumOff val="40000"/>
                    </a:srgbClr>
                  </a:gs>
                  <a:gs pos="100000">
                    <a:srgbClr val="9C319F">
                      <a:lumMod val="75000"/>
                    </a:srgbClr>
                  </a:gs>
                </a:gsLst>
                <a:lin ang="2700000" scaled="1"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6" name="Freeform 570">
                <a:extLst>
                  <a:ext uri="{FF2B5EF4-FFF2-40B4-BE49-F238E27FC236}">
                    <a16:creationId xmlns:a16="http://schemas.microsoft.com/office/drawing/2014/main" id="{0CF14354-58CB-47A1-A7ED-3E657C6AF6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442575" y="179388"/>
                <a:ext cx="9313863" cy="5376862"/>
              </a:xfrm>
              <a:custGeom>
                <a:avLst/>
                <a:gdLst>
                  <a:gd name="T0" fmla="*/ 413 w 689"/>
                  <a:gd name="T1" fmla="*/ 395 h 398"/>
                  <a:gd name="T2" fmla="*/ 5 w 689"/>
                  <a:gd name="T3" fmla="*/ 159 h 398"/>
                  <a:gd name="T4" fmla="*/ 6 w 689"/>
                  <a:gd name="T5" fmla="*/ 148 h 398"/>
                  <a:gd name="T6" fmla="*/ 257 w 689"/>
                  <a:gd name="T7" fmla="*/ 3 h 398"/>
                  <a:gd name="T8" fmla="*/ 276 w 689"/>
                  <a:gd name="T9" fmla="*/ 3 h 398"/>
                  <a:gd name="T10" fmla="*/ 684 w 689"/>
                  <a:gd name="T11" fmla="*/ 239 h 398"/>
                  <a:gd name="T12" fmla="*/ 683 w 689"/>
                  <a:gd name="T13" fmla="*/ 250 h 398"/>
                  <a:gd name="T14" fmla="*/ 432 w 689"/>
                  <a:gd name="T15" fmla="*/ 394 h 398"/>
                  <a:gd name="T16" fmla="*/ 413 w 689"/>
                  <a:gd name="T17" fmla="*/ 395 h 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9" h="398">
                    <a:moveTo>
                      <a:pt x="413" y="395"/>
                    </a:moveTo>
                    <a:cubicBezTo>
                      <a:pt x="5" y="159"/>
                      <a:pt x="5" y="159"/>
                      <a:pt x="5" y="159"/>
                    </a:cubicBezTo>
                    <a:cubicBezTo>
                      <a:pt x="0" y="156"/>
                      <a:pt x="0" y="151"/>
                      <a:pt x="6" y="148"/>
                    </a:cubicBezTo>
                    <a:cubicBezTo>
                      <a:pt x="257" y="3"/>
                      <a:pt x="257" y="3"/>
                      <a:pt x="257" y="3"/>
                    </a:cubicBezTo>
                    <a:cubicBezTo>
                      <a:pt x="262" y="0"/>
                      <a:pt x="271" y="0"/>
                      <a:pt x="276" y="3"/>
                    </a:cubicBezTo>
                    <a:cubicBezTo>
                      <a:pt x="684" y="239"/>
                      <a:pt x="684" y="239"/>
                      <a:pt x="684" y="239"/>
                    </a:cubicBezTo>
                    <a:cubicBezTo>
                      <a:pt x="689" y="241"/>
                      <a:pt x="689" y="246"/>
                      <a:pt x="683" y="250"/>
                    </a:cubicBezTo>
                    <a:cubicBezTo>
                      <a:pt x="432" y="394"/>
                      <a:pt x="432" y="394"/>
                      <a:pt x="432" y="394"/>
                    </a:cubicBezTo>
                    <a:cubicBezTo>
                      <a:pt x="427" y="398"/>
                      <a:pt x="418" y="398"/>
                      <a:pt x="413" y="395"/>
                    </a:cubicBezTo>
                    <a:close/>
                  </a:path>
                </a:pathLst>
              </a:custGeom>
              <a:gradFill>
                <a:gsLst>
                  <a:gs pos="18000">
                    <a:srgbClr val="9C319F">
                      <a:lumMod val="75000"/>
                    </a:srgbClr>
                  </a:gs>
                  <a:gs pos="100000">
                    <a:srgbClr val="9C319F">
                      <a:lumMod val="60000"/>
                      <a:lumOff val="40000"/>
                    </a:srgbClr>
                  </a:gs>
                </a:gsLst>
                <a:lin ang="9600000" scaled="0"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7" name="Freeform 571">
                <a:extLst>
                  <a:ext uri="{FF2B5EF4-FFF2-40B4-BE49-F238E27FC236}">
                    <a16:creationId xmlns:a16="http://schemas.microsoft.com/office/drawing/2014/main" id="{A836E17B-E49B-4EBA-B1AC-7CE6B8FEB1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373438" y="4827588"/>
                <a:ext cx="41275" cy="53975"/>
              </a:xfrm>
              <a:custGeom>
                <a:avLst/>
                <a:gdLst>
                  <a:gd name="T0" fmla="*/ 0 w 3"/>
                  <a:gd name="T1" fmla="*/ 3 h 4"/>
                  <a:gd name="T2" fmla="*/ 2 w 3"/>
                  <a:gd name="T3" fmla="*/ 4 h 4"/>
                  <a:gd name="T4" fmla="*/ 3 w 3"/>
                  <a:gd name="T5" fmla="*/ 1 h 4"/>
                  <a:gd name="T6" fmla="*/ 2 w 3"/>
                  <a:gd name="T7" fmla="*/ 0 h 4"/>
                  <a:gd name="T8" fmla="*/ 0 w 3"/>
                  <a:gd name="T9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0" y="3"/>
                    </a:moveTo>
                    <a:cubicBezTo>
                      <a:pt x="0" y="4"/>
                      <a:pt x="1" y="4"/>
                      <a:pt x="2" y="4"/>
                    </a:cubicBezTo>
                    <a:cubicBezTo>
                      <a:pt x="3" y="3"/>
                      <a:pt x="3" y="2"/>
                      <a:pt x="3" y="1"/>
                    </a:cubicBezTo>
                    <a:cubicBezTo>
                      <a:pt x="3" y="0"/>
                      <a:pt x="3" y="0"/>
                      <a:pt x="2" y="0"/>
                    </a:cubicBezTo>
                    <a:cubicBezTo>
                      <a:pt x="1" y="1"/>
                      <a:pt x="0" y="2"/>
                      <a:pt x="0" y="3"/>
                    </a:cubicBezTo>
                    <a:close/>
                  </a:path>
                </a:pathLst>
              </a:custGeom>
              <a:solidFill>
                <a:sysClr val="windowText" lastClr="000000">
                  <a:lumMod val="85000"/>
                  <a:lumOff val="15000"/>
                </a:sys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" name="Freeform 572">
                <a:extLst>
                  <a:ext uri="{FF2B5EF4-FFF2-40B4-BE49-F238E27FC236}">
                    <a16:creationId xmlns:a16="http://schemas.microsoft.com/office/drawing/2014/main" id="{B21CFAAD-030A-4A94-B629-34F75D9019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454400" y="4867275"/>
                <a:ext cx="41275" cy="68262"/>
              </a:xfrm>
              <a:custGeom>
                <a:avLst/>
                <a:gdLst>
                  <a:gd name="T0" fmla="*/ 0 w 3"/>
                  <a:gd name="T1" fmla="*/ 4 h 5"/>
                  <a:gd name="T2" fmla="*/ 2 w 3"/>
                  <a:gd name="T3" fmla="*/ 5 h 5"/>
                  <a:gd name="T4" fmla="*/ 3 w 3"/>
                  <a:gd name="T5" fmla="*/ 2 h 5"/>
                  <a:gd name="T6" fmla="*/ 2 w 3"/>
                  <a:gd name="T7" fmla="*/ 1 h 5"/>
                  <a:gd name="T8" fmla="*/ 0 w 3"/>
                  <a:gd name="T9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5">
                    <a:moveTo>
                      <a:pt x="0" y="4"/>
                    </a:moveTo>
                    <a:cubicBezTo>
                      <a:pt x="0" y="5"/>
                      <a:pt x="1" y="5"/>
                      <a:pt x="2" y="5"/>
                    </a:cubicBezTo>
                    <a:cubicBezTo>
                      <a:pt x="2" y="4"/>
                      <a:pt x="3" y="3"/>
                      <a:pt x="3" y="2"/>
                    </a:cubicBezTo>
                    <a:cubicBezTo>
                      <a:pt x="3" y="1"/>
                      <a:pt x="2" y="0"/>
                      <a:pt x="2" y="1"/>
                    </a:cubicBezTo>
                    <a:cubicBezTo>
                      <a:pt x="1" y="1"/>
                      <a:pt x="0" y="3"/>
                      <a:pt x="0" y="4"/>
                    </a:cubicBezTo>
                    <a:close/>
                  </a:path>
                </a:pathLst>
              </a:custGeom>
              <a:solidFill>
                <a:sysClr val="windowText" lastClr="000000">
                  <a:lumMod val="85000"/>
                  <a:lumOff val="15000"/>
                </a:sys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9" name="Freeform 573">
                <a:extLst>
                  <a:ext uri="{FF2B5EF4-FFF2-40B4-BE49-F238E27FC236}">
                    <a16:creationId xmlns:a16="http://schemas.microsoft.com/office/drawing/2014/main" id="{5A743830-57EB-4B2F-A043-D8D4786D63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535363" y="4921250"/>
                <a:ext cx="41275" cy="68262"/>
              </a:xfrm>
              <a:custGeom>
                <a:avLst/>
                <a:gdLst>
                  <a:gd name="T0" fmla="*/ 0 w 3"/>
                  <a:gd name="T1" fmla="*/ 3 h 5"/>
                  <a:gd name="T2" fmla="*/ 1 w 3"/>
                  <a:gd name="T3" fmla="*/ 4 h 5"/>
                  <a:gd name="T4" fmla="*/ 3 w 3"/>
                  <a:gd name="T5" fmla="*/ 1 h 5"/>
                  <a:gd name="T6" fmla="*/ 1 w 3"/>
                  <a:gd name="T7" fmla="*/ 1 h 5"/>
                  <a:gd name="T8" fmla="*/ 0 w 3"/>
                  <a:gd name="T9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5">
                    <a:moveTo>
                      <a:pt x="0" y="3"/>
                    </a:moveTo>
                    <a:cubicBezTo>
                      <a:pt x="0" y="4"/>
                      <a:pt x="0" y="5"/>
                      <a:pt x="1" y="4"/>
                    </a:cubicBezTo>
                    <a:cubicBezTo>
                      <a:pt x="2" y="4"/>
                      <a:pt x="3" y="2"/>
                      <a:pt x="3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lose/>
                  </a:path>
                </a:pathLst>
              </a:custGeom>
              <a:solidFill>
                <a:sysClr val="windowText" lastClr="000000">
                  <a:lumMod val="85000"/>
                  <a:lumOff val="15000"/>
                </a:sys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0" name="Freeform 574">
                <a:extLst>
                  <a:ext uri="{FF2B5EF4-FFF2-40B4-BE49-F238E27FC236}">
                    <a16:creationId xmlns:a16="http://schemas.microsoft.com/office/drawing/2014/main" id="{A7CE957C-E484-4CB6-883C-69296E5860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197100" y="4151313"/>
                <a:ext cx="41275" cy="53975"/>
              </a:xfrm>
              <a:custGeom>
                <a:avLst/>
                <a:gdLst>
                  <a:gd name="T0" fmla="*/ 0 w 3"/>
                  <a:gd name="T1" fmla="*/ 3 h 4"/>
                  <a:gd name="T2" fmla="*/ 2 w 3"/>
                  <a:gd name="T3" fmla="*/ 4 h 4"/>
                  <a:gd name="T4" fmla="*/ 3 w 3"/>
                  <a:gd name="T5" fmla="*/ 1 h 4"/>
                  <a:gd name="T6" fmla="*/ 2 w 3"/>
                  <a:gd name="T7" fmla="*/ 0 h 4"/>
                  <a:gd name="T8" fmla="*/ 0 w 3"/>
                  <a:gd name="T9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0" y="3"/>
                    </a:moveTo>
                    <a:cubicBezTo>
                      <a:pt x="0" y="4"/>
                      <a:pt x="1" y="4"/>
                      <a:pt x="2" y="4"/>
                    </a:cubicBezTo>
                    <a:cubicBezTo>
                      <a:pt x="3" y="3"/>
                      <a:pt x="3" y="2"/>
                      <a:pt x="3" y="1"/>
                    </a:cubicBezTo>
                    <a:cubicBezTo>
                      <a:pt x="3" y="0"/>
                      <a:pt x="3" y="0"/>
                      <a:pt x="2" y="0"/>
                    </a:cubicBezTo>
                    <a:cubicBezTo>
                      <a:pt x="1" y="1"/>
                      <a:pt x="0" y="2"/>
                      <a:pt x="0" y="3"/>
                    </a:cubicBezTo>
                    <a:close/>
                  </a:path>
                </a:pathLst>
              </a:custGeom>
              <a:solidFill>
                <a:sysClr val="windowText" lastClr="000000">
                  <a:lumMod val="85000"/>
                  <a:lumOff val="15000"/>
                </a:sys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" name="Freeform 575">
                <a:extLst>
                  <a:ext uri="{FF2B5EF4-FFF2-40B4-BE49-F238E27FC236}">
                    <a16:creationId xmlns:a16="http://schemas.microsoft.com/office/drawing/2014/main" id="{867CB454-DAA2-41F9-BA65-8EA0D33F41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278063" y="4192588"/>
                <a:ext cx="39688" cy="66675"/>
              </a:xfrm>
              <a:custGeom>
                <a:avLst/>
                <a:gdLst>
                  <a:gd name="T0" fmla="*/ 0 w 3"/>
                  <a:gd name="T1" fmla="*/ 4 h 5"/>
                  <a:gd name="T2" fmla="*/ 1 w 3"/>
                  <a:gd name="T3" fmla="*/ 4 h 5"/>
                  <a:gd name="T4" fmla="*/ 3 w 3"/>
                  <a:gd name="T5" fmla="*/ 2 h 5"/>
                  <a:gd name="T6" fmla="*/ 1 w 3"/>
                  <a:gd name="T7" fmla="*/ 1 h 5"/>
                  <a:gd name="T8" fmla="*/ 0 w 3"/>
                  <a:gd name="T9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5">
                    <a:moveTo>
                      <a:pt x="0" y="4"/>
                    </a:moveTo>
                    <a:cubicBezTo>
                      <a:pt x="0" y="5"/>
                      <a:pt x="1" y="5"/>
                      <a:pt x="1" y="4"/>
                    </a:cubicBezTo>
                    <a:cubicBezTo>
                      <a:pt x="2" y="4"/>
                      <a:pt x="3" y="3"/>
                      <a:pt x="3" y="2"/>
                    </a:cubicBezTo>
                    <a:cubicBezTo>
                      <a:pt x="3" y="1"/>
                      <a:pt x="2" y="0"/>
                      <a:pt x="1" y="1"/>
                    </a:cubicBezTo>
                    <a:cubicBezTo>
                      <a:pt x="1" y="1"/>
                      <a:pt x="0" y="2"/>
                      <a:pt x="0" y="4"/>
                    </a:cubicBezTo>
                    <a:close/>
                  </a:path>
                </a:pathLst>
              </a:custGeom>
              <a:solidFill>
                <a:sysClr val="windowText" lastClr="000000">
                  <a:lumMod val="85000"/>
                  <a:lumOff val="15000"/>
                </a:sys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" name="Freeform 576">
                <a:extLst>
                  <a:ext uri="{FF2B5EF4-FFF2-40B4-BE49-F238E27FC236}">
                    <a16:creationId xmlns:a16="http://schemas.microsoft.com/office/drawing/2014/main" id="{B3FEF27A-FE69-4DE6-9489-A3B34BEB0C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373313" y="4246563"/>
                <a:ext cx="53975" cy="66675"/>
              </a:xfrm>
              <a:custGeom>
                <a:avLst/>
                <a:gdLst>
                  <a:gd name="T0" fmla="*/ 0 w 4"/>
                  <a:gd name="T1" fmla="*/ 3 h 5"/>
                  <a:gd name="T2" fmla="*/ 2 w 4"/>
                  <a:gd name="T3" fmla="*/ 4 h 5"/>
                  <a:gd name="T4" fmla="*/ 4 w 4"/>
                  <a:gd name="T5" fmla="*/ 1 h 5"/>
                  <a:gd name="T6" fmla="*/ 2 w 4"/>
                  <a:gd name="T7" fmla="*/ 0 h 5"/>
                  <a:gd name="T8" fmla="*/ 0 w 4"/>
                  <a:gd name="T9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0" y="3"/>
                    </a:moveTo>
                    <a:cubicBezTo>
                      <a:pt x="0" y="4"/>
                      <a:pt x="1" y="5"/>
                      <a:pt x="2" y="4"/>
                    </a:cubicBezTo>
                    <a:cubicBezTo>
                      <a:pt x="3" y="4"/>
                      <a:pt x="4" y="2"/>
                      <a:pt x="4" y="1"/>
                    </a:cubicBezTo>
                    <a:cubicBezTo>
                      <a:pt x="4" y="0"/>
                      <a:pt x="3" y="0"/>
                      <a:pt x="2" y="0"/>
                    </a:cubicBezTo>
                    <a:cubicBezTo>
                      <a:pt x="1" y="1"/>
                      <a:pt x="0" y="2"/>
                      <a:pt x="0" y="3"/>
                    </a:cubicBezTo>
                    <a:close/>
                  </a:path>
                </a:pathLst>
              </a:custGeom>
              <a:solidFill>
                <a:sysClr val="windowText" lastClr="000000">
                  <a:lumMod val="85000"/>
                  <a:lumOff val="15000"/>
                </a:sys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" name="Freeform 577">
                <a:extLst>
                  <a:ext uri="{FF2B5EF4-FFF2-40B4-BE49-F238E27FC236}">
                    <a16:creationId xmlns:a16="http://schemas.microsoft.com/office/drawing/2014/main" id="{722434F7-D023-46CB-8C77-36A6D80DBF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940050" y="4489450"/>
                <a:ext cx="188913" cy="161925"/>
              </a:xfrm>
              <a:custGeom>
                <a:avLst/>
                <a:gdLst>
                  <a:gd name="T0" fmla="*/ 0 w 14"/>
                  <a:gd name="T1" fmla="*/ 10 h 12"/>
                  <a:gd name="T2" fmla="*/ 0 w 14"/>
                  <a:gd name="T3" fmla="*/ 10 h 12"/>
                  <a:gd name="T4" fmla="*/ 1 w 14"/>
                  <a:gd name="T5" fmla="*/ 11 h 12"/>
                  <a:gd name="T6" fmla="*/ 13 w 14"/>
                  <a:gd name="T7" fmla="*/ 5 h 12"/>
                  <a:gd name="T8" fmla="*/ 14 w 14"/>
                  <a:gd name="T9" fmla="*/ 1 h 12"/>
                  <a:gd name="T10" fmla="*/ 13 w 14"/>
                  <a:gd name="T11" fmla="*/ 0 h 12"/>
                  <a:gd name="T12" fmla="*/ 1 w 14"/>
                  <a:gd name="T13" fmla="*/ 7 h 12"/>
                  <a:gd name="T14" fmla="*/ 0 w 14"/>
                  <a:gd name="T15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2">
                    <a:moveTo>
                      <a:pt x="0" y="10"/>
                    </a:moveTo>
                    <a:cubicBezTo>
                      <a:pt x="0" y="10"/>
                      <a:pt x="0" y="10"/>
                      <a:pt x="0" y="10"/>
                    </a:cubicBezTo>
                    <a:cubicBezTo>
                      <a:pt x="0" y="11"/>
                      <a:pt x="0" y="12"/>
                      <a:pt x="1" y="11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4" y="4"/>
                      <a:pt x="14" y="3"/>
                      <a:pt x="14" y="1"/>
                    </a:cubicBezTo>
                    <a:cubicBezTo>
                      <a:pt x="14" y="0"/>
                      <a:pt x="14" y="0"/>
                      <a:pt x="13" y="0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7"/>
                      <a:pt x="0" y="9"/>
                      <a:pt x="0" y="10"/>
                    </a:cubicBezTo>
                    <a:close/>
                  </a:path>
                </a:pathLst>
              </a:custGeom>
              <a:solidFill>
                <a:sysClr val="windowText" lastClr="000000">
                  <a:lumMod val="85000"/>
                  <a:lumOff val="15000"/>
                </a:sys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E8F7DBC-C2D0-4C9F-8A70-CC6AA9357FF7}"/>
                </a:ext>
              </a:extLst>
            </p:cNvPr>
            <p:cNvSpPr/>
            <p:nvPr/>
          </p:nvSpPr>
          <p:spPr>
            <a:xfrm>
              <a:off x="4636008" y="1912072"/>
              <a:ext cx="561612" cy="359749"/>
            </a:xfrm>
            <a:prstGeom prst="ellipse">
              <a:avLst/>
            </a:prstGeom>
            <a:noFill/>
            <a:ln w="38100" cap="flat" cmpd="sng" algn="ctr">
              <a:solidFill>
                <a:sysClr val="window" lastClr="FFFFFF">
                  <a:alpha val="13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6252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3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B6848B2E-C4BC-4EF9-A197-D06603ABDDEF}"/>
                </a:ext>
              </a:extLst>
            </p:cNvPr>
            <p:cNvSpPr/>
            <p:nvPr/>
          </p:nvSpPr>
          <p:spPr>
            <a:xfrm>
              <a:off x="4314503" y="1706104"/>
              <a:ext cx="1204700" cy="771686"/>
            </a:xfrm>
            <a:prstGeom prst="ellipse">
              <a:avLst/>
            </a:prstGeom>
            <a:noFill/>
            <a:ln w="38100" cap="flat" cmpd="sng" algn="ctr">
              <a:solidFill>
                <a:sysClr val="window" lastClr="FFFFFF">
                  <a:alpha val="13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6252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3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581">
              <a:extLst>
                <a:ext uri="{FF2B5EF4-FFF2-40B4-BE49-F238E27FC236}">
                  <a16:creationId xmlns:a16="http://schemas.microsoft.com/office/drawing/2014/main" id="{0E1701AB-0908-4550-927B-3AB10A7688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6488" y="350838"/>
              <a:ext cx="2006600" cy="1847850"/>
            </a:xfrm>
            <a:custGeom>
              <a:avLst/>
              <a:gdLst>
                <a:gd name="T0" fmla="*/ 2 w 532"/>
                <a:gd name="T1" fmla="*/ 492 h 492"/>
                <a:gd name="T2" fmla="*/ 0 w 532"/>
                <a:gd name="T3" fmla="*/ 490 h 492"/>
                <a:gd name="T4" fmla="*/ 0 w 532"/>
                <a:gd name="T5" fmla="*/ 2 h 492"/>
                <a:gd name="T6" fmla="*/ 1 w 532"/>
                <a:gd name="T7" fmla="*/ 1 h 492"/>
                <a:gd name="T8" fmla="*/ 3 w 532"/>
                <a:gd name="T9" fmla="*/ 1 h 492"/>
                <a:gd name="T10" fmla="*/ 530 w 532"/>
                <a:gd name="T11" fmla="*/ 305 h 492"/>
                <a:gd name="T12" fmla="*/ 531 w 532"/>
                <a:gd name="T13" fmla="*/ 307 h 492"/>
                <a:gd name="T14" fmla="*/ 528 w 532"/>
                <a:gd name="T15" fmla="*/ 308 h 492"/>
                <a:gd name="T16" fmla="*/ 4 w 532"/>
                <a:gd name="T17" fmla="*/ 6 h 492"/>
                <a:gd name="T18" fmla="*/ 4 w 532"/>
                <a:gd name="T19" fmla="*/ 490 h 492"/>
                <a:gd name="T20" fmla="*/ 2 w 532"/>
                <a:gd name="T21" fmla="*/ 492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2" h="492">
                  <a:moveTo>
                    <a:pt x="2" y="492"/>
                  </a:moveTo>
                  <a:cubicBezTo>
                    <a:pt x="1" y="492"/>
                    <a:pt x="0" y="491"/>
                    <a:pt x="0" y="49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1"/>
                  </a:cubicBezTo>
                  <a:cubicBezTo>
                    <a:pt x="530" y="305"/>
                    <a:pt x="530" y="305"/>
                    <a:pt x="530" y="305"/>
                  </a:cubicBezTo>
                  <a:cubicBezTo>
                    <a:pt x="531" y="305"/>
                    <a:pt x="532" y="306"/>
                    <a:pt x="531" y="307"/>
                  </a:cubicBezTo>
                  <a:cubicBezTo>
                    <a:pt x="531" y="308"/>
                    <a:pt x="529" y="309"/>
                    <a:pt x="528" y="308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490"/>
                    <a:pt x="4" y="490"/>
                    <a:pt x="4" y="490"/>
                  </a:cubicBezTo>
                  <a:cubicBezTo>
                    <a:pt x="4" y="491"/>
                    <a:pt x="3" y="492"/>
                    <a:pt x="2" y="492"/>
                  </a:cubicBezTo>
                  <a:close/>
                </a:path>
              </a:pathLst>
            </a:custGeom>
            <a:solidFill>
              <a:srgbClr val="9C319F">
                <a:lumMod val="60000"/>
                <a:lumOff val="4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6252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3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81C4D97-01EB-4E63-BBFD-A6061F1F2DEB}"/>
                </a:ext>
              </a:extLst>
            </p:cNvPr>
            <p:cNvGrpSpPr/>
            <p:nvPr/>
          </p:nvGrpSpPr>
          <p:grpSpPr>
            <a:xfrm>
              <a:off x="7319217" y="3721179"/>
              <a:ext cx="2026000" cy="1460783"/>
              <a:chOff x="-8044685" y="-1243261"/>
              <a:chExt cx="10037763" cy="7237413"/>
            </a:xfrm>
          </p:grpSpPr>
          <p:sp>
            <p:nvSpPr>
              <p:cNvPr id="70" name="Freeform 551">
                <a:extLst>
                  <a:ext uri="{FF2B5EF4-FFF2-40B4-BE49-F238E27FC236}">
                    <a16:creationId xmlns:a16="http://schemas.microsoft.com/office/drawing/2014/main" id="{2147EBB6-FA67-449B-895E-300E83F023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630347" y="437902"/>
                <a:ext cx="9623425" cy="5556250"/>
              </a:xfrm>
              <a:custGeom>
                <a:avLst/>
                <a:gdLst>
                  <a:gd name="T0" fmla="*/ 130 w 395"/>
                  <a:gd name="T1" fmla="*/ 225 h 228"/>
                  <a:gd name="T2" fmla="*/ 5 w 395"/>
                  <a:gd name="T3" fmla="*/ 153 h 228"/>
                  <a:gd name="T4" fmla="*/ 6 w 395"/>
                  <a:gd name="T5" fmla="*/ 142 h 228"/>
                  <a:gd name="T6" fmla="*/ 246 w 395"/>
                  <a:gd name="T7" fmla="*/ 3 h 228"/>
                  <a:gd name="T8" fmla="*/ 265 w 395"/>
                  <a:gd name="T9" fmla="*/ 2 h 228"/>
                  <a:gd name="T10" fmla="*/ 390 w 395"/>
                  <a:gd name="T11" fmla="*/ 75 h 228"/>
                  <a:gd name="T12" fmla="*/ 389 w 395"/>
                  <a:gd name="T13" fmla="*/ 85 h 228"/>
                  <a:gd name="T14" fmla="*/ 148 w 395"/>
                  <a:gd name="T15" fmla="*/ 224 h 228"/>
                  <a:gd name="T16" fmla="*/ 130 w 395"/>
                  <a:gd name="T17" fmla="*/ 225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95" h="228">
                    <a:moveTo>
                      <a:pt x="130" y="225"/>
                    </a:moveTo>
                    <a:cubicBezTo>
                      <a:pt x="5" y="153"/>
                      <a:pt x="5" y="153"/>
                      <a:pt x="5" y="153"/>
                    </a:cubicBezTo>
                    <a:cubicBezTo>
                      <a:pt x="0" y="150"/>
                      <a:pt x="1" y="145"/>
                      <a:pt x="6" y="142"/>
                    </a:cubicBezTo>
                    <a:cubicBezTo>
                      <a:pt x="246" y="3"/>
                      <a:pt x="246" y="3"/>
                      <a:pt x="246" y="3"/>
                    </a:cubicBezTo>
                    <a:cubicBezTo>
                      <a:pt x="252" y="0"/>
                      <a:pt x="260" y="0"/>
                      <a:pt x="265" y="2"/>
                    </a:cubicBezTo>
                    <a:cubicBezTo>
                      <a:pt x="390" y="75"/>
                      <a:pt x="390" y="75"/>
                      <a:pt x="390" y="75"/>
                    </a:cubicBezTo>
                    <a:cubicBezTo>
                      <a:pt x="395" y="78"/>
                      <a:pt x="394" y="82"/>
                      <a:pt x="389" y="85"/>
                    </a:cubicBezTo>
                    <a:cubicBezTo>
                      <a:pt x="148" y="224"/>
                      <a:pt x="148" y="224"/>
                      <a:pt x="148" y="224"/>
                    </a:cubicBezTo>
                    <a:cubicBezTo>
                      <a:pt x="143" y="227"/>
                      <a:pt x="135" y="228"/>
                      <a:pt x="130" y="225"/>
                    </a:cubicBezTo>
                  </a:path>
                </a:pathLst>
              </a:custGeom>
              <a:solidFill>
                <a:srgbClr val="9C319F">
                  <a:lumMod val="50000"/>
                  <a:alpha val="70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" name="Freeform 552">
                <a:extLst>
                  <a:ext uri="{FF2B5EF4-FFF2-40B4-BE49-F238E27FC236}">
                    <a16:creationId xmlns:a16="http://schemas.microsoft.com/office/drawing/2014/main" id="{B08B23A8-BD91-47A8-A10C-20FABF9BA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995472" y="-852735"/>
                <a:ext cx="9940925" cy="5653088"/>
              </a:xfrm>
              <a:custGeom>
                <a:avLst/>
                <a:gdLst>
                  <a:gd name="T0" fmla="*/ 408 w 408"/>
                  <a:gd name="T1" fmla="*/ 68 h 232"/>
                  <a:gd name="T2" fmla="*/ 392 w 408"/>
                  <a:gd name="T3" fmla="*/ 70 h 232"/>
                  <a:gd name="T4" fmla="*/ 274 w 408"/>
                  <a:gd name="T5" fmla="*/ 3 h 232"/>
                  <a:gd name="T6" fmla="*/ 255 w 408"/>
                  <a:gd name="T7" fmla="*/ 3 h 232"/>
                  <a:gd name="T8" fmla="*/ 29 w 408"/>
                  <a:gd name="T9" fmla="*/ 134 h 232"/>
                  <a:gd name="T10" fmla="*/ 0 w 408"/>
                  <a:gd name="T11" fmla="*/ 139 h 232"/>
                  <a:gd name="T12" fmla="*/ 0 w 408"/>
                  <a:gd name="T13" fmla="*/ 149 h 232"/>
                  <a:gd name="T14" fmla="*/ 0 w 408"/>
                  <a:gd name="T15" fmla="*/ 149 h 232"/>
                  <a:gd name="T16" fmla="*/ 3 w 408"/>
                  <a:gd name="T17" fmla="*/ 154 h 232"/>
                  <a:gd name="T18" fmla="*/ 134 w 408"/>
                  <a:gd name="T19" fmla="*/ 229 h 232"/>
                  <a:gd name="T20" fmla="*/ 153 w 408"/>
                  <a:gd name="T21" fmla="*/ 228 h 232"/>
                  <a:gd name="T22" fmla="*/ 404 w 408"/>
                  <a:gd name="T23" fmla="*/ 84 h 232"/>
                  <a:gd name="T24" fmla="*/ 408 w 408"/>
                  <a:gd name="T25" fmla="*/ 77 h 232"/>
                  <a:gd name="T26" fmla="*/ 408 w 408"/>
                  <a:gd name="T27" fmla="*/ 77 h 232"/>
                  <a:gd name="T28" fmla="*/ 408 w 408"/>
                  <a:gd name="T29" fmla="*/ 68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08" h="232">
                    <a:moveTo>
                      <a:pt x="408" y="68"/>
                    </a:moveTo>
                    <a:cubicBezTo>
                      <a:pt x="392" y="70"/>
                      <a:pt x="392" y="70"/>
                      <a:pt x="392" y="70"/>
                    </a:cubicBezTo>
                    <a:cubicBezTo>
                      <a:pt x="274" y="3"/>
                      <a:pt x="274" y="3"/>
                      <a:pt x="274" y="3"/>
                    </a:cubicBezTo>
                    <a:cubicBezTo>
                      <a:pt x="269" y="0"/>
                      <a:pt x="261" y="0"/>
                      <a:pt x="255" y="3"/>
                    </a:cubicBezTo>
                    <a:cubicBezTo>
                      <a:pt x="29" y="134"/>
                      <a:pt x="29" y="134"/>
                      <a:pt x="29" y="134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0" y="150"/>
                      <a:pt x="1" y="152"/>
                      <a:pt x="3" y="154"/>
                    </a:cubicBezTo>
                    <a:cubicBezTo>
                      <a:pt x="134" y="229"/>
                      <a:pt x="134" y="229"/>
                      <a:pt x="134" y="229"/>
                    </a:cubicBezTo>
                    <a:cubicBezTo>
                      <a:pt x="139" y="232"/>
                      <a:pt x="147" y="232"/>
                      <a:pt x="153" y="228"/>
                    </a:cubicBezTo>
                    <a:cubicBezTo>
                      <a:pt x="404" y="84"/>
                      <a:pt x="404" y="84"/>
                      <a:pt x="404" y="84"/>
                    </a:cubicBezTo>
                    <a:cubicBezTo>
                      <a:pt x="407" y="82"/>
                      <a:pt x="408" y="79"/>
                      <a:pt x="408" y="77"/>
                    </a:cubicBezTo>
                    <a:cubicBezTo>
                      <a:pt x="408" y="77"/>
                      <a:pt x="408" y="77"/>
                      <a:pt x="408" y="77"/>
                    </a:cubicBezTo>
                    <a:cubicBezTo>
                      <a:pt x="408" y="68"/>
                      <a:pt x="408" y="68"/>
                      <a:pt x="408" y="68"/>
                    </a:cubicBezTo>
                  </a:path>
                </a:pathLst>
              </a:custGeom>
              <a:solidFill>
                <a:srgbClr val="312A9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" name="Freeform 553">
                <a:extLst>
                  <a:ext uri="{FF2B5EF4-FFF2-40B4-BE49-F238E27FC236}">
                    <a16:creationId xmlns:a16="http://schemas.microsoft.com/office/drawing/2014/main" id="{77068764-CC68-49C0-ABF7-3D8B2F5E42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995472" y="-828923"/>
                <a:ext cx="9940925" cy="5605463"/>
              </a:xfrm>
              <a:custGeom>
                <a:avLst/>
                <a:gdLst>
                  <a:gd name="T0" fmla="*/ 266 w 408"/>
                  <a:gd name="T1" fmla="*/ 0 h 230"/>
                  <a:gd name="T2" fmla="*/ 255 w 408"/>
                  <a:gd name="T3" fmla="*/ 2 h 230"/>
                  <a:gd name="T4" fmla="*/ 29 w 408"/>
                  <a:gd name="T5" fmla="*/ 133 h 230"/>
                  <a:gd name="T6" fmla="*/ 0 w 408"/>
                  <a:gd name="T7" fmla="*/ 138 h 230"/>
                  <a:gd name="T8" fmla="*/ 0 w 408"/>
                  <a:gd name="T9" fmla="*/ 148 h 230"/>
                  <a:gd name="T10" fmla="*/ 0 w 408"/>
                  <a:gd name="T11" fmla="*/ 148 h 230"/>
                  <a:gd name="T12" fmla="*/ 0 w 408"/>
                  <a:gd name="T13" fmla="*/ 148 h 230"/>
                  <a:gd name="T14" fmla="*/ 0 w 408"/>
                  <a:gd name="T15" fmla="*/ 148 h 230"/>
                  <a:gd name="T16" fmla="*/ 3 w 408"/>
                  <a:gd name="T17" fmla="*/ 153 h 230"/>
                  <a:gd name="T18" fmla="*/ 134 w 408"/>
                  <a:gd name="T19" fmla="*/ 228 h 230"/>
                  <a:gd name="T20" fmla="*/ 142 w 408"/>
                  <a:gd name="T21" fmla="*/ 230 h 230"/>
                  <a:gd name="T22" fmla="*/ 153 w 408"/>
                  <a:gd name="T23" fmla="*/ 227 h 230"/>
                  <a:gd name="T24" fmla="*/ 404 w 408"/>
                  <a:gd name="T25" fmla="*/ 83 h 230"/>
                  <a:gd name="T26" fmla="*/ 408 w 408"/>
                  <a:gd name="T27" fmla="*/ 76 h 230"/>
                  <a:gd name="T28" fmla="*/ 408 w 408"/>
                  <a:gd name="T29" fmla="*/ 76 h 230"/>
                  <a:gd name="T30" fmla="*/ 408 w 408"/>
                  <a:gd name="T31" fmla="*/ 67 h 230"/>
                  <a:gd name="T32" fmla="*/ 392 w 408"/>
                  <a:gd name="T33" fmla="*/ 69 h 230"/>
                  <a:gd name="T34" fmla="*/ 274 w 408"/>
                  <a:gd name="T35" fmla="*/ 2 h 230"/>
                  <a:gd name="T36" fmla="*/ 266 w 408"/>
                  <a:gd name="T37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08" h="230">
                    <a:moveTo>
                      <a:pt x="266" y="0"/>
                    </a:moveTo>
                    <a:cubicBezTo>
                      <a:pt x="262" y="0"/>
                      <a:pt x="258" y="1"/>
                      <a:pt x="255" y="2"/>
                    </a:cubicBezTo>
                    <a:cubicBezTo>
                      <a:pt x="29" y="133"/>
                      <a:pt x="29" y="133"/>
                      <a:pt x="29" y="133"/>
                    </a:cubicBezTo>
                    <a:cubicBezTo>
                      <a:pt x="0" y="138"/>
                      <a:pt x="0" y="138"/>
                      <a:pt x="0" y="138"/>
                    </a:cubicBezTo>
                    <a:cubicBezTo>
                      <a:pt x="0" y="148"/>
                      <a:pt x="0" y="148"/>
                      <a:pt x="0" y="148"/>
                    </a:cubicBezTo>
                    <a:cubicBezTo>
                      <a:pt x="0" y="148"/>
                      <a:pt x="0" y="148"/>
                      <a:pt x="0" y="148"/>
                    </a:cubicBezTo>
                    <a:cubicBezTo>
                      <a:pt x="0" y="148"/>
                      <a:pt x="0" y="148"/>
                      <a:pt x="0" y="148"/>
                    </a:cubicBezTo>
                    <a:cubicBezTo>
                      <a:pt x="0" y="148"/>
                      <a:pt x="0" y="148"/>
                      <a:pt x="0" y="148"/>
                    </a:cubicBezTo>
                    <a:cubicBezTo>
                      <a:pt x="0" y="150"/>
                      <a:pt x="1" y="151"/>
                      <a:pt x="3" y="153"/>
                    </a:cubicBezTo>
                    <a:cubicBezTo>
                      <a:pt x="134" y="228"/>
                      <a:pt x="134" y="228"/>
                      <a:pt x="134" y="228"/>
                    </a:cubicBezTo>
                    <a:cubicBezTo>
                      <a:pt x="136" y="229"/>
                      <a:pt x="139" y="230"/>
                      <a:pt x="142" y="230"/>
                    </a:cubicBezTo>
                    <a:cubicBezTo>
                      <a:pt x="146" y="230"/>
                      <a:pt x="150" y="229"/>
                      <a:pt x="153" y="227"/>
                    </a:cubicBezTo>
                    <a:cubicBezTo>
                      <a:pt x="404" y="83"/>
                      <a:pt x="404" y="83"/>
                      <a:pt x="404" y="83"/>
                    </a:cubicBezTo>
                    <a:cubicBezTo>
                      <a:pt x="407" y="81"/>
                      <a:pt x="408" y="78"/>
                      <a:pt x="408" y="76"/>
                    </a:cubicBezTo>
                    <a:cubicBezTo>
                      <a:pt x="408" y="76"/>
                      <a:pt x="408" y="76"/>
                      <a:pt x="408" y="76"/>
                    </a:cubicBezTo>
                    <a:cubicBezTo>
                      <a:pt x="408" y="67"/>
                      <a:pt x="408" y="67"/>
                      <a:pt x="408" y="67"/>
                    </a:cubicBezTo>
                    <a:cubicBezTo>
                      <a:pt x="392" y="69"/>
                      <a:pt x="392" y="69"/>
                      <a:pt x="392" y="69"/>
                    </a:cubicBezTo>
                    <a:cubicBezTo>
                      <a:pt x="274" y="2"/>
                      <a:pt x="274" y="2"/>
                      <a:pt x="274" y="2"/>
                    </a:cubicBezTo>
                    <a:cubicBezTo>
                      <a:pt x="272" y="0"/>
                      <a:pt x="269" y="0"/>
                      <a:pt x="266" y="0"/>
                    </a:cubicBezTo>
                  </a:path>
                </a:pathLst>
              </a:custGeom>
              <a:solidFill>
                <a:srgbClr val="9C319F">
                  <a:lumMod val="50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" name="Freeform 554">
                <a:extLst>
                  <a:ext uri="{FF2B5EF4-FFF2-40B4-BE49-F238E27FC236}">
                    <a16:creationId xmlns:a16="http://schemas.microsoft.com/office/drawing/2014/main" id="{751FE106-1DA4-4940-9BFB-347D623F2D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995472" y="877641"/>
                <a:ext cx="9940923" cy="3825875"/>
              </a:xfrm>
              <a:custGeom>
                <a:avLst/>
                <a:gdLst>
                  <a:gd name="T0" fmla="*/ 404 w 408"/>
                  <a:gd name="T1" fmla="*/ 7 h 157"/>
                  <a:gd name="T2" fmla="*/ 153 w 408"/>
                  <a:gd name="T3" fmla="*/ 151 h 157"/>
                  <a:gd name="T4" fmla="*/ 134 w 408"/>
                  <a:gd name="T5" fmla="*/ 152 h 157"/>
                  <a:gd name="T6" fmla="*/ 3 w 408"/>
                  <a:gd name="T7" fmla="*/ 77 h 157"/>
                  <a:gd name="T8" fmla="*/ 0 w 408"/>
                  <a:gd name="T9" fmla="*/ 72 h 157"/>
                  <a:gd name="T10" fmla="*/ 0 w 408"/>
                  <a:gd name="T11" fmla="*/ 72 h 157"/>
                  <a:gd name="T12" fmla="*/ 0 w 408"/>
                  <a:gd name="T13" fmla="*/ 74 h 157"/>
                  <a:gd name="T14" fmla="*/ 0 w 408"/>
                  <a:gd name="T15" fmla="*/ 74 h 157"/>
                  <a:gd name="T16" fmla="*/ 3 w 408"/>
                  <a:gd name="T17" fmla="*/ 79 h 157"/>
                  <a:gd name="T18" fmla="*/ 134 w 408"/>
                  <a:gd name="T19" fmla="*/ 155 h 157"/>
                  <a:gd name="T20" fmla="*/ 153 w 408"/>
                  <a:gd name="T21" fmla="*/ 154 h 157"/>
                  <a:gd name="T22" fmla="*/ 404 w 408"/>
                  <a:gd name="T23" fmla="*/ 9 h 157"/>
                  <a:gd name="T24" fmla="*/ 408 w 408"/>
                  <a:gd name="T25" fmla="*/ 3 h 157"/>
                  <a:gd name="T26" fmla="*/ 408 w 408"/>
                  <a:gd name="T27" fmla="*/ 3 h 157"/>
                  <a:gd name="T28" fmla="*/ 408 w 408"/>
                  <a:gd name="T29" fmla="*/ 0 h 157"/>
                  <a:gd name="T30" fmla="*/ 408 w 408"/>
                  <a:gd name="T31" fmla="*/ 0 h 157"/>
                  <a:gd name="T32" fmla="*/ 404 w 408"/>
                  <a:gd name="T33" fmla="*/ 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08" h="157">
                    <a:moveTo>
                      <a:pt x="404" y="7"/>
                    </a:moveTo>
                    <a:cubicBezTo>
                      <a:pt x="153" y="151"/>
                      <a:pt x="153" y="151"/>
                      <a:pt x="153" y="151"/>
                    </a:cubicBezTo>
                    <a:cubicBezTo>
                      <a:pt x="147" y="155"/>
                      <a:pt x="139" y="155"/>
                      <a:pt x="134" y="152"/>
                    </a:cubicBezTo>
                    <a:cubicBezTo>
                      <a:pt x="3" y="77"/>
                      <a:pt x="3" y="77"/>
                      <a:pt x="3" y="77"/>
                    </a:cubicBezTo>
                    <a:cubicBezTo>
                      <a:pt x="1" y="75"/>
                      <a:pt x="0" y="74"/>
                      <a:pt x="0" y="72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0" y="76"/>
                      <a:pt x="1" y="78"/>
                      <a:pt x="3" y="79"/>
                    </a:cubicBezTo>
                    <a:cubicBezTo>
                      <a:pt x="134" y="155"/>
                      <a:pt x="134" y="155"/>
                      <a:pt x="134" y="155"/>
                    </a:cubicBezTo>
                    <a:cubicBezTo>
                      <a:pt x="139" y="157"/>
                      <a:pt x="147" y="157"/>
                      <a:pt x="153" y="154"/>
                    </a:cubicBezTo>
                    <a:cubicBezTo>
                      <a:pt x="404" y="9"/>
                      <a:pt x="404" y="9"/>
                      <a:pt x="404" y="9"/>
                    </a:cubicBezTo>
                    <a:cubicBezTo>
                      <a:pt x="407" y="7"/>
                      <a:pt x="408" y="5"/>
                      <a:pt x="408" y="3"/>
                    </a:cubicBezTo>
                    <a:cubicBezTo>
                      <a:pt x="408" y="3"/>
                      <a:pt x="408" y="3"/>
                      <a:pt x="408" y="3"/>
                    </a:cubicBezTo>
                    <a:cubicBezTo>
                      <a:pt x="408" y="0"/>
                      <a:pt x="408" y="0"/>
                      <a:pt x="408" y="0"/>
                    </a:cubicBezTo>
                    <a:cubicBezTo>
                      <a:pt x="408" y="0"/>
                      <a:pt x="408" y="0"/>
                      <a:pt x="408" y="0"/>
                    </a:cubicBezTo>
                    <a:cubicBezTo>
                      <a:pt x="408" y="3"/>
                      <a:pt x="407" y="5"/>
                      <a:pt x="404" y="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9C319F">
                      <a:lumMod val="60000"/>
                      <a:lumOff val="40000"/>
                    </a:srgbClr>
                  </a:gs>
                  <a:gs pos="100000">
                    <a:srgbClr val="9C319F">
                      <a:lumMod val="75000"/>
                    </a:srgbClr>
                  </a:gs>
                </a:gsLst>
                <a:lin ang="270000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" name="Freeform 555">
                <a:extLst>
                  <a:ext uri="{FF2B5EF4-FFF2-40B4-BE49-F238E27FC236}">
                    <a16:creationId xmlns:a16="http://schemas.microsoft.com/office/drawing/2014/main" id="{23933713-B588-4F35-B4A7-08E0161E19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044685" y="-1243261"/>
                <a:ext cx="10037763" cy="5800725"/>
              </a:xfrm>
              <a:custGeom>
                <a:avLst/>
                <a:gdLst>
                  <a:gd name="T0" fmla="*/ 136 w 412"/>
                  <a:gd name="T1" fmla="*/ 235 h 238"/>
                  <a:gd name="T2" fmla="*/ 5 w 412"/>
                  <a:gd name="T3" fmla="*/ 160 h 238"/>
                  <a:gd name="T4" fmla="*/ 6 w 412"/>
                  <a:gd name="T5" fmla="*/ 149 h 238"/>
                  <a:gd name="T6" fmla="*/ 257 w 412"/>
                  <a:gd name="T7" fmla="*/ 4 h 238"/>
                  <a:gd name="T8" fmla="*/ 276 w 412"/>
                  <a:gd name="T9" fmla="*/ 3 h 238"/>
                  <a:gd name="T10" fmla="*/ 407 w 412"/>
                  <a:gd name="T11" fmla="*/ 79 h 238"/>
                  <a:gd name="T12" fmla="*/ 406 w 412"/>
                  <a:gd name="T13" fmla="*/ 90 h 238"/>
                  <a:gd name="T14" fmla="*/ 155 w 412"/>
                  <a:gd name="T15" fmla="*/ 235 h 238"/>
                  <a:gd name="T16" fmla="*/ 136 w 412"/>
                  <a:gd name="T17" fmla="*/ 235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2" h="238">
                    <a:moveTo>
                      <a:pt x="136" y="235"/>
                    </a:moveTo>
                    <a:cubicBezTo>
                      <a:pt x="5" y="160"/>
                      <a:pt x="5" y="160"/>
                      <a:pt x="5" y="160"/>
                    </a:cubicBezTo>
                    <a:cubicBezTo>
                      <a:pt x="0" y="157"/>
                      <a:pt x="1" y="152"/>
                      <a:pt x="6" y="149"/>
                    </a:cubicBezTo>
                    <a:cubicBezTo>
                      <a:pt x="257" y="4"/>
                      <a:pt x="257" y="4"/>
                      <a:pt x="257" y="4"/>
                    </a:cubicBezTo>
                    <a:cubicBezTo>
                      <a:pt x="263" y="1"/>
                      <a:pt x="271" y="0"/>
                      <a:pt x="276" y="3"/>
                    </a:cubicBezTo>
                    <a:cubicBezTo>
                      <a:pt x="407" y="79"/>
                      <a:pt x="407" y="79"/>
                      <a:pt x="407" y="79"/>
                    </a:cubicBezTo>
                    <a:cubicBezTo>
                      <a:pt x="412" y="82"/>
                      <a:pt x="411" y="86"/>
                      <a:pt x="406" y="90"/>
                    </a:cubicBezTo>
                    <a:cubicBezTo>
                      <a:pt x="155" y="235"/>
                      <a:pt x="155" y="235"/>
                      <a:pt x="155" y="235"/>
                    </a:cubicBezTo>
                    <a:cubicBezTo>
                      <a:pt x="149" y="238"/>
                      <a:pt x="141" y="238"/>
                      <a:pt x="136" y="235"/>
                    </a:cubicBezTo>
                    <a:close/>
                  </a:path>
                </a:pathLst>
              </a:custGeom>
              <a:gradFill>
                <a:gsLst>
                  <a:gs pos="12000">
                    <a:srgbClr val="9C319F">
                      <a:lumMod val="75000"/>
                    </a:srgbClr>
                  </a:gs>
                  <a:gs pos="100000">
                    <a:srgbClr val="9C319F">
                      <a:lumMod val="60000"/>
                      <a:lumOff val="40000"/>
                    </a:srgbClr>
                  </a:gs>
                </a:gsLst>
                <a:lin ang="108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" name="Freeform 556">
                <a:extLst>
                  <a:ext uri="{FF2B5EF4-FFF2-40B4-BE49-F238E27FC236}">
                    <a16:creationId xmlns:a16="http://schemas.microsoft.com/office/drawing/2014/main" id="{1920F533-6AA1-456F-9666-8388C79EAB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84060" y="4093915"/>
                <a:ext cx="73025" cy="96838"/>
              </a:xfrm>
              <a:custGeom>
                <a:avLst/>
                <a:gdLst>
                  <a:gd name="T0" fmla="*/ 3 w 3"/>
                  <a:gd name="T1" fmla="*/ 3 h 4"/>
                  <a:gd name="T2" fmla="*/ 1 w 3"/>
                  <a:gd name="T3" fmla="*/ 4 h 4"/>
                  <a:gd name="T4" fmla="*/ 0 w 3"/>
                  <a:gd name="T5" fmla="*/ 1 h 4"/>
                  <a:gd name="T6" fmla="*/ 1 w 3"/>
                  <a:gd name="T7" fmla="*/ 0 h 4"/>
                  <a:gd name="T8" fmla="*/ 3 w 3"/>
                  <a:gd name="T9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3" y="3"/>
                    </a:moveTo>
                    <a:cubicBezTo>
                      <a:pt x="3" y="4"/>
                      <a:pt x="2" y="4"/>
                      <a:pt x="1" y="4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" y="1"/>
                      <a:pt x="3" y="2"/>
                      <a:pt x="3" y="3"/>
                    </a:cubicBezTo>
                    <a:close/>
                  </a:path>
                </a:pathLst>
              </a:custGeom>
              <a:solidFill>
                <a:srgbClr val="180D5B"/>
              </a:solidFill>
              <a:ln w="9525">
                <a:solidFill>
                  <a:sysClr val="windowText" lastClr="000000">
                    <a:lumMod val="85000"/>
                    <a:lumOff val="15000"/>
                  </a:sys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" name="Freeform 557">
                <a:extLst>
                  <a:ext uri="{FF2B5EF4-FFF2-40B4-BE49-F238E27FC236}">
                    <a16:creationId xmlns:a16="http://schemas.microsoft.com/office/drawing/2014/main" id="{AA5C285D-D599-4962-A6CB-A50E7EF900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38010" y="4166940"/>
                <a:ext cx="73025" cy="122238"/>
              </a:xfrm>
              <a:custGeom>
                <a:avLst/>
                <a:gdLst>
                  <a:gd name="T0" fmla="*/ 3 w 3"/>
                  <a:gd name="T1" fmla="*/ 3 h 5"/>
                  <a:gd name="T2" fmla="*/ 1 w 3"/>
                  <a:gd name="T3" fmla="*/ 4 h 5"/>
                  <a:gd name="T4" fmla="*/ 0 w 3"/>
                  <a:gd name="T5" fmla="*/ 2 h 5"/>
                  <a:gd name="T6" fmla="*/ 1 w 3"/>
                  <a:gd name="T7" fmla="*/ 1 h 5"/>
                  <a:gd name="T8" fmla="*/ 3 w 3"/>
                  <a:gd name="T9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5">
                    <a:moveTo>
                      <a:pt x="3" y="3"/>
                    </a:moveTo>
                    <a:cubicBezTo>
                      <a:pt x="3" y="4"/>
                      <a:pt x="2" y="5"/>
                      <a:pt x="1" y="4"/>
                    </a:cubicBezTo>
                    <a:cubicBezTo>
                      <a:pt x="0" y="4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1"/>
                    </a:cubicBezTo>
                    <a:cubicBezTo>
                      <a:pt x="2" y="1"/>
                      <a:pt x="3" y="2"/>
                      <a:pt x="3" y="3"/>
                    </a:cubicBezTo>
                    <a:close/>
                  </a:path>
                </a:pathLst>
              </a:custGeom>
              <a:solidFill>
                <a:srgbClr val="180D5B"/>
              </a:solidFill>
              <a:ln w="9525">
                <a:solidFill>
                  <a:sysClr val="windowText" lastClr="000000">
                    <a:lumMod val="85000"/>
                    <a:lumOff val="15000"/>
                  </a:sys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" name="Freeform 558">
                <a:extLst>
                  <a:ext uri="{FF2B5EF4-FFF2-40B4-BE49-F238E27FC236}">
                    <a16:creationId xmlns:a16="http://schemas.microsoft.com/office/drawing/2014/main" id="{83D9AE52-4DD3-49C9-A24F-F3426452C9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15772" y="4265365"/>
                <a:ext cx="73025" cy="96838"/>
              </a:xfrm>
              <a:custGeom>
                <a:avLst/>
                <a:gdLst>
                  <a:gd name="T0" fmla="*/ 3 w 3"/>
                  <a:gd name="T1" fmla="*/ 3 h 4"/>
                  <a:gd name="T2" fmla="*/ 2 w 3"/>
                  <a:gd name="T3" fmla="*/ 3 h 4"/>
                  <a:gd name="T4" fmla="*/ 0 w 3"/>
                  <a:gd name="T5" fmla="*/ 1 h 4"/>
                  <a:gd name="T6" fmla="*/ 2 w 3"/>
                  <a:gd name="T7" fmla="*/ 0 h 4"/>
                  <a:gd name="T8" fmla="*/ 3 w 3"/>
                  <a:gd name="T9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3" y="3"/>
                    </a:moveTo>
                    <a:cubicBezTo>
                      <a:pt x="3" y="4"/>
                      <a:pt x="3" y="4"/>
                      <a:pt x="2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3" y="1"/>
                      <a:pt x="3" y="2"/>
                      <a:pt x="3" y="3"/>
                    </a:cubicBezTo>
                    <a:close/>
                  </a:path>
                </a:pathLst>
              </a:custGeom>
              <a:solidFill>
                <a:srgbClr val="180D5B"/>
              </a:solidFill>
              <a:ln w="9525">
                <a:solidFill>
                  <a:sysClr val="windowText" lastClr="000000">
                    <a:lumMod val="85000"/>
                    <a:lumOff val="15000"/>
                  </a:sys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" name="Freeform 559">
                <a:extLst>
                  <a:ext uri="{FF2B5EF4-FFF2-40B4-BE49-F238E27FC236}">
                    <a16:creationId xmlns:a16="http://schemas.microsoft.com/office/drawing/2014/main" id="{0A5102A4-22B5-47D1-8DED-D4FD95BD41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533510" y="2973140"/>
                <a:ext cx="73025" cy="96838"/>
              </a:xfrm>
              <a:custGeom>
                <a:avLst/>
                <a:gdLst>
                  <a:gd name="T0" fmla="*/ 3 w 3"/>
                  <a:gd name="T1" fmla="*/ 3 h 4"/>
                  <a:gd name="T2" fmla="*/ 2 w 3"/>
                  <a:gd name="T3" fmla="*/ 4 h 4"/>
                  <a:gd name="T4" fmla="*/ 0 w 3"/>
                  <a:gd name="T5" fmla="*/ 1 h 4"/>
                  <a:gd name="T6" fmla="*/ 2 w 3"/>
                  <a:gd name="T7" fmla="*/ 0 h 4"/>
                  <a:gd name="T8" fmla="*/ 3 w 3"/>
                  <a:gd name="T9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3" y="3"/>
                    </a:moveTo>
                    <a:cubicBezTo>
                      <a:pt x="3" y="4"/>
                      <a:pt x="3" y="4"/>
                      <a:pt x="2" y="4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3" y="1"/>
                      <a:pt x="3" y="2"/>
                      <a:pt x="3" y="3"/>
                    </a:cubicBezTo>
                    <a:close/>
                  </a:path>
                </a:pathLst>
              </a:custGeom>
              <a:solidFill>
                <a:srgbClr val="180D5B"/>
              </a:solidFill>
              <a:ln w="9525">
                <a:solidFill>
                  <a:sysClr val="windowText" lastClr="000000">
                    <a:lumMod val="85000"/>
                    <a:lumOff val="15000"/>
                  </a:sys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Freeform 560">
                <a:extLst>
                  <a:ext uri="{FF2B5EF4-FFF2-40B4-BE49-F238E27FC236}">
                    <a16:creationId xmlns:a16="http://schemas.microsoft.com/office/drawing/2014/main" id="{BE714F8F-E155-4074-906E-AE3567B0EE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387460" y="3046165"/>
                <a:ext cx="73025" cy="122238"/>
              </a:xfrm>
              <a:custGeom>
                <a:avLst/>
                <a:gdLst>
                  <a:gd name="T0" fmla="*/ 3 w 3"/>
                  <a:gd name="T1" fmla="*/ 3 h 5"/>
                  <a:gd name="T2" fmla="*/ 1 w 3"/>
                  <a:gd name="T3" fmla="*/ 4 h 5"/>
                  <a:gd name="T4" fmla="*/ 0 w 3"/>
                  <a:gd name="T5" fmla="*/ 2 h 5"/>
                  <a:gd name="T6" fmla="*/ 1 w 3"/>
                  <a:gd name="T7" fmla="*/ 1 h 5"/>
                  <a:gd name="T8" fmla="*/ 3 w 3"/>
                  <a:gd name="T9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5">
                    <a:moveTo>
                      <a:pt x="3" y="3"/>
                    </a:moveTo>
                    <a:cubicBezTo>
                      <a:pt x="3" y="4"/>
                      <a:pt x="2" y="5"/>
                      <a:pt x="1" y="4"/>
                    </a:cubicBezTo>
                    <a:cubicBezTo>
                      <a:pt x="1" y="4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1"/>
                    </a:cubicBezTo>
                    <a:cubicBezTo>
                      <a:pt x="2" y="1"/>
                      <a:pt x="3" y="2"/>
                      <a:pt x="3" y="3"/>
                    </a:cubicBezTo>
                    <a:close/>
                  </a:path>
                </a:pathLst>
              </a:custGeom>
              <a:solidFill>
                <a:srgbClr val="180D5B"/>
              </a:solidFill>
              <a:ln w="9525">
                <a:solidFill>
                  <a:sysClr val="windowText" lastClr="000000">
                    <a:lumMod val="85000"/>
                    <a:lumOff val="15000"/>
                  </a:sys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" name="Freeform 561">
                <a:extLst>
                  <a:ext uri="{FF2B5EF4-FFF2-40B4-BE49-F238E27FC236}">
                    <a16:creationId xmlns:a16="http://schemas.microsoft.com/office/drawing/2014/main" id="{C7336FCE-E516-4888-8698-EBF7E0E4C3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239822" y="3143002"/>
                <a:ext cx="73025" cy="98425"/>
              </a:xfrm>
              <a:custGeom>
                <a:avLst/>
                <a:gdLst>
                  <a:gd name="T0" fmla="*/ 3 w 3"/>
                  <a:gd name="T1" fmla="*/ 3 h 4"/>
                  <a:gd name="T2" fmla="*/ 1 w 3"/>
                  <a:gd name="T3" fmla="*/ 3 h 4"/>
                  <a:gd name="T4" fmla="*/ 0 w 3"/>
                  <a:gd name="T5" fmla="*/ 1 h 4"/>
                  <a:gd name="T6" fmla="*/ 1 w 3"/>
                  <a:gd name="T7" fmla="*/ 0 h 4"/>
                  <a:gd name="T8" fmla="*/ 3 w 3"/>
                  <a:gd name="T9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3" y="3"/>
                    </a:moveTo>
                    <a:cubicBezTo>
                      <a:pt x="3" y="4"/>
                      <a:pt x="2" y="4"/>
                      <a:pt x="1" y="3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" y="1"/>
                      <a:pt x="3" y="2"/>
                      <a:pt x="3" y="3"/>
                    </a:cubicBezTo>
                    <a:close/>
                  </a:path>
                </a:pathLst>
              </a:custGeom>
              <a:solidFill>
                <a:srgbClr val="180D5B"/>
              </a:solidFill>
              <a:ln w="9525">
                <a:solidFill>
                  <a:sysClr val="windowText" lastClr="000000">
                    <a:lumMod val="85000"/>
                    <a:lumOff val="15000"/>
                  </a:sys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" name="Freeform 562">
                <a:extLst>
                  <a:ext uri="{FF2B5EF4-FFF2-40B4-BE49-F238E27FC236}">
                    <a16:creationId xmlns:a16="http://schemas.microsoft.com/office/drawing/2014/main" id="{D3ABB7C1-D17C-4CFB-AA3B-1C00E14A76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533385" y="3533527"/>
                <a:ext cx="315913" cy="268288"/>
              </a:xfrm>
              <a:custGeom>
                <a:avLst/>
                <a:gdLst>
                  <a:gd name="T0" fmla="*/ 13 w 13"/>
                  <a:gd name="T1" fmla="*/ 9 h 11"/>
                  <a:gd name="T2" fmla="*/ 13 w 13"/>
                  <a:gd name="T3" fmla="*/ 9 h 11"/>
                  <a:gd name="T4" fmla="*/ 11 w 13"/>
                  <a:gd name="T5" fmla="*/ 10 h 11"/>
                  <a:gd name="T6" fmla="*/ 1 w 13"/>
                  <a:gd name="T7" fmla="*/ 5 h 11"/>
                  <a:gd name="T8" fmla="*/ 0 w 13"/>
                  <a:gd name="T9" fmla="*/ 2 h 11"/>
                  <a:gd name="T10" fmla="*/ 1 w 13"/>
                  <a:gd name="T11" fmla="*/ 0 h 11"/>
                  <a:gd name="T12" fmla="*/ 11 w 13"/>
                  <a:gd name="T13" fmla="*/ 6 h 11"/>
                  <a:gd name="T14" fmla="*/ 13 w 13"/>
                  <a:gd name="T15" fmla="*/ 9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1">
                    <a:moveTo>
                      <a:pt x="13" y="9"/>
                    </a:moveTo>
                    <a:cubicBezTo>
                      <a:pt x="13" y="9"/>
                      <a:pt x="13" y="9"/>
                      <a:pt x="13" y="9"/>
                    </a:cubicBezTo>
                    <a:cubicBezTo>
                      <a:pt x="13" y="10"/>
                      <a:pt x="12" y="11"/>
                      <a:pt x="11" y="10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2" y="7"/>
                      <a:pt x="13" y="8"/>
                      <a:pt x="13" y="9"/>
                    </a:cubicBezTo>
                    <a:close/>
                  </a:path>
                </a:pathLst>
              </a:custGeom>
              <a:solidFill>
                <a:srgbClr val="180D5B"/>
              </a:solidFill>
              <a:ln w="9525">
                <a:solidFill>
                  <a:sysClr val="windowText" lastClr="000000">
                    <a:lumMod val="85000"/>
                    <a:lumOff val="15000"/>
                  </a:sys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16AAE7C4-D6D9-48BA-A1EA-A53FC19C779C}"/>
                </a:ext>
              </a:extLst>
            </p:cNvPr>
            <p:cNvGrpSpPr/>
            <p:nvPr/>
          </p:nvGrpSpPr>
          <p:grpSpPr>
            <a:xfrm>
              <a:off x="2422004" y="1778329"/>
              <a:ext cx="4405854" cy="4427516"/>
              <a:chOff x="2422004" y="1778329"/>
              <a:chExt cx="4405854" cy="4427516"/>
            </a:xfrm>
          </p:grpSpPr>
          <p:sp>
            <p:nvSpPr>
              <p:cNvPr id="23" name="Freeform 481">
                <a:extLst>
                  <a:ext uri="{FF2B5EF4-FFF2-40B4-BE49-F238E27FC236}">
                    <a16:creationId xmlns:a16="http://schemas.microsoft.com/office/drawing/2014/main" id="{ADB55F20-E513-4CA5-BA52-E9F55D4D5D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2416" y="3877814"/>
                <a:ext cx="4051084" cy="2328031"/>
              </a:xfrm>
              <a:custGeom>
                <a:avLst/>
                <a:gdLst>
                  <a:gd name="T0" fmla="*/ 2396 w 4003"/>
                  <a:gd name="T1" fmla="*/ 0 h 2306"/>
                  <a:gd name="T2" fmla="*/ 2355 w 4003"/>
                  <a:gd name="T3" fmla="*/ 10 h 2306"/>
                  <a:gd name="T4" fmla="*/ 24 w 4003"/>
                  <a:gd name="T5" fmla="*/ 1358 h 2306"/>
                  <a:gd name="T6" fmla="*/ 19 w 4003"/>
                  <a:gd name="T7" fmla="*/ 1400 h 2306"/>
                  <a:gd name="T8" fmla="*/ 1575 w 4003"/>
                  <a:gd name="T9" fmla="*/ 2299 h 2306"/>
                  <a:gd name="T10" fmla="*/ 1607 w 4003"/>
                  <a:gd name="T11" fmla="*/ 2306 h 2306"/>
                  <a:gd name="T12" fmla="*/ 1648 w 4003"/>
                  <a:gd name="T13" fmla="*/ 2296 h 2306"/>
                  <a:gd name="T14" fmla="*/ 3979 w 4003"/>
                  <a:gd name="T15" fmla="*/ 948 h 2306"/>
                  <a:gd name="T16" fmla="*/ 3984 w 4003"/>
                  <a:gd name="T17" fmla="*/ 906 h 2306"/>
                  <a:gd name="T18" fmla="*/ 2428 w 4003"/>
                  <a:gd name="T19" fmla="*/ 7 h 2306"/>
                  <a:gd name="T20" fmla="*/ 2396 w 4003"/>
                  <a:gd name="T21" fmla="*/ 0 h 2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003" h="2306">
                    <a:moveTo>
                      <a:pt x="2396" y="0"/>
                    </a:moveTo>
                    <a:cubicBezTo>
                      <a:pt x="2382" y="0"/>
                      <a:pt x="2367" y="3"/>
                      <a:pt x="2355" y="10"/>
                    </a:cubicBezTo>
                    <a:cubicBezTo>
                      <a:pt x="24" y="1358"/>
                      <a:pt x="24" y="1358"/>
                      <a:pt x="24" y="1358"/>
                    </a:cubicBezTo>
                    <a:cubicBezTo>
                      <a:pt x="3" y="1370"/>
                      <a:pt x="0" y="1389"/>
                      <a:pt x="19" y="1400"/>
                    </a:cubicBezTo>
                    <a:cubicBezTo>
                      <a:pt x="1575" y="2299"/>
                      <a:pt x="1575" y="2299"/>
                      <a:pt x="1575" y="2299"/>
                    </a:cubicBezTo>
                    <a:cubicBezTo>
                      <a:pt x="1584" y="2304"/>
                      <a:pt x="1595" y="2306"/>
                      <a:pt x="1607" y="2306"/>
                    </a:cubicBezTo>
                    <a:cubicBezTo>
                      <a:pt x="1621" y="2306"/>
                      <a:pt x="1636" y="2302"/>
                      <a:pt x="1648" y="2296"/>
                    </a:cubicBezTo>
                    <a:cubicBezTo>
                      <a:pt x="3979" y="948"/>
                      <a:pt x="3979" y="948"/>
                      <a:pt x="3979" y="948"/>
                    </a:cubicBezTo>
                    <a:cubicBezTo>
                      <a:pt x="4001" y="936"/>
                      <a:pt x="4003" y="917"/>
                      <a:pt x="3984" y="906"/>
                    </a:cubicBezTo>
                    <a:cubicBezTo>
                      <a:pt x="2428" y="7"/>
                      <a:pt x="2428" y="7"/>
                      <a:pt x="2428" y="7"/>
                    </a:cubicBezTo>
                    <a:cubicBezTo>
                      <a:pt x="2420" y="2"/>
                      <a:pt x="2408" y="0"/>
                      <a:pt x="2396" y="0"/>
                    </a:cubicBezTo>
                  </a:path>
                </a:pathLst>
              </a:custGeom>
              <a:solidFill>
                <a:srgbClr val="9C319F">
                  <a:lumMod val="50000"/>
                  <a:alpha val="6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" name="Freeform 482">
                <a:extLst>
                  <a:ext uri="{FF2B5EF4-FFF2-40B4-BE49-F238E27FC236}">
                    <a16:creationId xmlns:a16="http://schemas.microsoft.com/office/drawing/2014/main" id="{AC03EE0F-A756-45CA-A932-85540F965C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4782" y="3660472"/>
                <a:ext cx="4106354" cy="2352678"/>
              </a:xfrm>
              <a:custGeom>
                <a:avLst/>
                <a:gdLst>
                  <a:gd name="T0" fmla="*/ 4057 w 4057"/>
                  <a:gd name="T1" fmla="*/ 880 h 2330"/>
                  <a:gd name="T2" fmla="*/ 3991 w 4057"/>
                  <a:gd name="T3" fmla="*/ 892 h 2330"/>
                  <a:gd name="T4" fmla="*/ 2467 w 4057"/>
                  <a:gd name="T5" fmla="*/ 11 h 2330"/>
                  <a:gd name="T6" fmla="*/ 2391 w 4057"/>
                  <a:gd name="T7" fmla="*/ 15 h 2330"/>
                  <a:gd name="T8" fmla="*/ 117 w 4057"/>
                  <a:gd name="T9" fmla="*/ 1329 h 2330"/>
                  <a:gd name="T10" fmla="*/ 0 w 4057"/>
                  <a:gd name="T11" fmla="*/ 1350 h 2330"/>
                  <a:gd name="T12" fmla="*/ 0 w 4057"/>
                  <a:gd name="T13" fmla="*/ 1388 h 2330"/>
                  <a:gd name="T14" fmla="*/ 0 w 4057"/>
                  <a:gd name="T15" fmla="*/ 1388 h 2330"/>
                  <a:gd name="T16" fmla="*/ 13 w 4057"/>
                  <a:gd name="T17" fmla="*/ 1407 h 2330"/>
                  <a:gd name="T18" fmla="*/ 1591 w 4057"/>
                  <a:gd name="T19" fmla="*/ 2319 h 2330"/>
                  <a:gd name="T20" fmla="*/ 1667 w 4057"/>
                  <a:gd name="T21" fmla="*/ 2315 h 2330"/>
                  <a:gd name="T22" fmla="*/ 4039 w 4057"/>
                  <a:gd name="T23" fmla="*/ 944 h 2330"/>
                  <a:gd name="T24" fmla="*/ 4057 w 4057"/>
                  <a:gd name="T25" fmla="*/ 919 h 2330"/>
                  <a:gd name="T26" fmla="*/ 4057 w 4057"/>
                  <a:gd name="T27" fmla="*/ 919 h 2330"/>
                  <a:gd name="T28" fmla="*/ 4057 w 4057"/>
                  <a:gd name="T29" fmla="*/ 880 h 2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057" h="2330">
                    <a:moveTo>
                      <a:pt x="4057" y="880"/>
                    </a:moveTo>
                    <a:cubicBezTo>
                      <a:pt x="3991" y="892"/>
                      <a:pt x="3991" y="892"/>
                      <a:pt x="3991" y="892"/>
                    </a:cubicBezTo>
                    <a:cubicBezTo>
                      <a:pt x="2467" y="11"/>
                      <a:pt x="2467" y="11"/>
                      <a:pt x="2467" y="11"/>
                    </a:cubicBezTo>
                    <a:cubicBezTo>
                      <a:pt x="2447" y="0"/>
                      <a:pt x="2413" y="2"/>
                      <a:pt x="2391" y="15"/>
                    </a:cubicBezTo>
                    <a:cubicBezTo>
                      <a:pt x="117" y="1329"/>
                      <a:pt x="117" y="1329"/>
                      <a:pt x="117" y="1329"/>
                    </a:cubicBezTo>
                    <a:cubicBezTo>
                      <a:pt x="0" y="1350"/>
                      <a:pt x="0" y="1350"/>
                      <a:pt x="0" y="1350"/>
                    </a:cubicBezTo>
                    <a:cubicBezTo>
                      <a:pt x="0" y="1388"/>
                      <a:pt x="0" y="1388"/>
                      <a:pt x="0" y="1388"/>
                    </a:cubicBezTo>
                    <a:cubicBezTo>
                      <a:pt x="0" y="1388"/>
                      <a:pt x="0" y="1388"/>
                      <a:pt x="0" y="1388"/>
                    </a:cubicBezTo>
                    <a:cubicBezTo>
                      <a:pt x="0" y="1395"/>
                      <a:pt x="4" y="1402"/>
                      <a:pt x="13" y="1407"/>
                    </a:cubicBezTo>
                    <a:cubicBezTo>
                      <a:pt x="1591" y="2319"/>
                      <a:pt x="1591" y="2319"/>
                      <a:pt x="1591" y="2319"/>
                    </a:cubicBezTo>
                    <a:cubicBezTo>
                      <a:pt x="1610" y="2330"/>
                      <a:pt x="1644" y="2328"/>
                      <a:pt x="1667" y="2315"/>
                    </a:cubicBezTo>
                    <a:cubicBezTo>
                      <a:pt x="4039" y="944"/>
                      <a:pt x="4039" y="944"/>
                      <a:pt x="4039" y="944"/>
                    </a:cubicBezTo>
                    <a:cubicBezTo>
                      <a:pt x="4051" y="937"/>
                      <a:pt x="4057" y="928"/>
                      <a:pt x="4057" y="919"/>
                    </a:cubicBezTo>
                    <a:cubicBezTo>
                      <a:pt x="4057" y="919"/>
                      <a:pt x="4057" y="919"/>
                      <a:pt x="4057" y="919"/>
                    </a:cubicBezTo>
                    <a:lnTo>
                      <a:pt x="4057" y="880"/>
                    </a:lnTo>
                    <a:close/>
                  </a:path>
                </a:pathLst>
              </a:custGeom>
              <a:solidFill>
                <a:srgbClr val="9C319F">
                  <a:lumMod val="5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" name="Freeform 483">
                <a:extLst>
                  <a:ext uri="{FF2B5EF4-FFF2-40B4-BE49-F238E27FC236}">
                    <a16:creationId xmlns:a16="http://schemas.microsoft.com/office/drawing/2014/main" id="{4C428E5E-3CF6-4FAF-ABFF-6ACA4F4712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2004" y="1778329"/>
                <a:ext cx="2695495" cy="3201883"/>
              </a:xfrm>
              <a:custGeom>
                <a:avLst/>
                <a:gdLst>
                  <a:gd name="T0" fmla="*/ 2660 w 2663"/>
                  <a:gd name="T1" fmla="*/ 1725 h 3171"/>
                  <a:gd name="T2" fmla="*/ 2465 w 2663"/>
                  <a:gd name="T3" fmla="*/ 51 h 3171"/>
                  <a:gd name="T4" fmla="*/ 2463 w 2663"/>
                  <a:gd name="T5" fmla="*/ 41 h 3171"/>
                  <a:gd name="T6" fmla="*/ 2480 w 2663"/>
                  <a:gd name="T7" fmla="*/ 33 h 3171"/>
                  <a:gd name="T8" fmla="*/ 2441 w 2663"/>
                  <a:gd name="T9" fmla="*/ 11 h 3171"/>
                  <a:gd name="T10" fmla="*/ 2441 w 2663"/>
                  <a:gd name="T11" fmla="*/ 11 h 3171"/>
                  <a:gd name="T12" fmla="*/ 2384 w 2663"/>
                  <a:gd name="T13" fmla="*/ 11 h 3171"/>
                  <a:gd name="T14" fmla="*/ 35 w 2663"/>
                  <a:gd name="T15" fmla="*/ 1368 h 3171"/>
                  <a:gd name="T16" fmla="*/ 3 w 2663"/>
                  <a:gd name="T17" fmla="*/ 1431 h 3171"/>
                  <a:gd name="T18" fmla="*/ 198 w 2663"/>
                  <a:gd name="T19" fmla="*/ 3105 h 3171"/>
                  <a:gd name="T20" fmla="*/ 229 w 2663"/>
                  <a:gd name="T21" fmla="*/ 3149 h 3171"/>
                  <a:gd name="T22" fmla="*/ 267 w 2663"/>
                  <a:gd name="T23" fmla="*/ 3171 h 3171"/>
                  <a:gd name="T24" fmla="*/ 261 w 2663"/>
                  <a:gd name="T25" fmla="*/ 3151 h 3171"/>
                  <a:gd name="T26" fmla="*/ 279 w 2663"/>
                  <a:gd name="T27" fmla="*/ 3145 h 3171"/>
                  <a:gd name="T28" fmla="*/ 2628 w 2663"/>
                  <a:gd name="T29" fmla="*/ 1788 h 3171"/>
                  <a:gd name="T30" fmla="*/ 2660 w 2663"/>
                  <a:gd name="T31" fmla="*/ 1725 h 3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663" h="3171">
                    <a:moveTo>
                      <a:pt x="2660" y="1725"/>
                    </a:moveTo>
                    <a:cubicBezTo>
                      <a:pt x="2465" y="51"/>
                      <a:pt x="2465" y="51"/>
                      <a:pt x="2465" y="51"/>
                    </a:cubicBezTo>
                    <a:cubicBezTo>
                      <a:pt x="2465" y="48"/>
                      <a:pt x="2464" y="44"/>
                      <a:pt x="2463" y="41"/>
                    </a:cubicBezTo>
                    <a:cubicBezTo>
                      <a:pt x="2480" y="33"/>
                      <a:pt x="2480" y="33"/>
                      <a:pt x="2480" y="33"/>
                    </a:cubicBezTo>
                    <a:cubicBezTo>
                      <a:pt x="2441" y="11"/>
                      <a:pt x="2441" y="11"/>
                      <a:pt x="2441" y="11"/>
                    </a:cubicBezTo>
                    <a:cubicBezTo>
                      <a:pt x="2441" y="11"/>
                      <a:pt x="2441" y="11"/>
                      <a:pt x="2441" y="11"/>
                    </a:cubicBezTo>
                    <a:cubicBezTo>
                      <a:pt x="2424" y="2"/>
                      <a:pt x="2403" y="0"/>
                      <a:pt x="2384" y="11"/>
                    </a:cubicBezTo>
                    <a:cubicBezTo>
                      <a:pt x="35" y="1368"/>
                      <a:pt x="35" y="1368"/>
                      <a:pt x="35" y="1368"/>
                    </a:cubicBezTo>
                    <a:cubicBezTo>
                      <a:pt x="13" y="1381"/>
                      <a:pt x="0" y="1406"/>
                      <a:pt x="3" y="1431"/>
                    </a:cubicBezTo>
                    <a:cubicBezTo>
                      <a:pt x="198" y="3105"/>
                      <a:pt x="198" y="3105"/>
                      <a:pt x="198" y="3105"/>
                    </a:cubicBezTo>
                    <a:cubicBezTo>
                      <a:pt x="200" y="3125"/>
                      <a:pt x="213" y="3141"/>
                      <a:pt x="229" y="3149"/>
                    </a:cubicBezTo>
                    <a:cubicBezTo>
                      <a:pt x="267" y="3171"/>
                      <a:pt x="267" y="3171"/>
                      <a:pt x="267" y="3171"/>
                    </a:cubicBezTo>
                    <a:cubicBezTo>
                      <a:pt x="261" y="3151"/>
                      <a:pt x="261" y="3151"/>
                      <a:pt x="261" y="3151"/>
                    </a:cubicBezTo>
                    <a:cubicBezTo>
                      <a:pt x="267" y="3150"/>
                      <a:pt x="273" y="3148"/>
                      <a:pt x="279" y="3145"/>
                    </a:cubicBezTo>
                    <a:cubicBezTo>
                      <a:pt x="2628" y="1788"/>
                      <a:pt x="2628" y="1788"/>
                      <a:pt x="2628" y="1788"/>
                    </a:cubicBezTo>
                    <a:cubicBezTo>
                      <a:pt x="2651" y="1775"/>
                      <a:pt x="2663" y="1750"/>
                      <a:pt x="2660" y="1725"/>
                    </a:cubicBezTo>
                  </a:path>
                </a:pathLst>
              </a:custGeom>
              <a:gradFill>
                <a:gsLst>
                  <a:gs pos="35000">
                    <a:srgbClr val="9C319F">
                      <a:lumMod val="75000"/>
                    </a:srgbClr>
                  </a:gs>
                  <a:gs pos="100000">
                    <a:srgbClr val="9C319F">
                      <a:lumMod val="60000"/>
                      <a:lumOff val="40000"/>
                    </a:srgbClr>
                  </a:gs>
                </a:gsLst>
                <a:lin ang="1140000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" name="Freeform 484">
                <a:extLst>
                  <a:ext uri="{FF2B5EF4-FFF2-40B4-BE49-F238E27FC236}">
                    <a16:creationId xmlns:a16="http://schemas.microsoft.com/office/drawing/2014/main" id="{93B605BD-AA0C-4A43-AC6E-BBA12E35B6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4782" y="4564945"/>
                <a:ext cx="4106354" cy="1434013"/>
              </a:xfrm>
              <a:custGeom>
                <a:avLst/>
                <a:gdLst>
                  <a:gd name="T0" fmla="*/ 4039 w 4057"/>
                  <a:gd name="T1" fmla="*/ 25 h 1420"/>
                  <a:gd name="T2" fmla="*/ 1667 w 4057"/>
                  <a:gd name="T3" fmla="*/ 1396 h 1420"/>
                  <a:gd name="T4" fmla="*/ 1591 w 4057"/>
                  <a:gd name="T5" fmla="*/ 1399 h 1420"/>
                  <a:gd name="T6" fmla="*/ 13 w 4057"/>
                  <a:gd name="T7" fmla="*/ 488 h 1420"/>
                  <a:gd name="T8" fmla="*/ 0 w 4057"/>
                  <a:gd name="T9" fmla="*/ 468 h 1420"/>
                  <a:gd name="T10" fmla="*/ 0 w 4057"/>
                  <a:gd name="T11" fmla="*/ 468 h 1420"/>
                  <a:gd name="T12" fmla="*/ 0 w 4057"/>
                  <a:gd name="T13" fmla="*/ 478 h 1420"/>
                  <a:gd name="T14" fmla="*/ 0 w 4057"/>
                  <a:gd name="T15" fmla="*/ 478 h 1420"/>
                  <a:gd name="T16" fmla="*/ 13 w 4057"/>
                  <a:gd name="T17" fmla="*/ 498 h 1420"/>
                  <a:gd name="T18" fmla="*/ 1591 w 4057"/>
                  <a:gd name="T19" fmla="*/ 1409 h 1420"/>
                  <a:gd name="T20" fmla="*/ 1667 w 4057"/>
                  <a:gd name="T21" fmla="*/ 1406 h 1420"/>
                  <a:gd name="T22" fmla="*/ 4039 w 4057"/>
                  <a:gd name="T23" fmla="*/ 34 h 1420"/>
                  <a:gd name="T24" fmla="*/ 4057 w 4057"/>
                  <a:gd name="T25" fmla="*/ 10 h 1420"/>
                  <a:gd name="T26" fmla="*/ 4057 w 4057"/>
                  <a:gd name="T27" fmla="*/ 10 h 1420"/>
                  <a:gd name="T28" fmla="*/ 4057 w 4057"/>
                  <a:gd name="T29" fmla="*/ 0 h 1420"/>
                  <a:gd name="T30" fmla="*/ 4057 w 4057"/>
                  <a:gd name="T31" fmla="*/ 0 h 1420"/>
                  <a:gd name="T32" fmla="*/ 4039 w 4057"/>
                  <a:gd name="T33" fmla="*/ 25 h 1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057" h="1420">
                    <a:moveTo>
                      <a:pt x="4039" y="25"/>
                    </a:moveTo>
                    <a:cubicBezTo>
                      <a:pt x="1667" y="1396"/>
                      <a:pt x="1667" y="1396"/>
                      <a:pt x="1667" y="1396"/>
                    </a:cubicBezTo>
                    <a:cubicBezTo>
                      <a:pt x="1644" y="1409"/>
                      <a:pt x="1610" y="1410"/>
                      <a:pt x="1591" y="1399"/>
                    </a:cubicBezTo>
                    <a:cubicBezTo>
                      <a:pt x="13" y="488"/>
                      <a:pt x="13" y="488"/>
                      <a:pt x="13" y="488"/>
                    </a:cubicBezTo>
                    <a:cubicBezTo>
                      <a:pt x="4" y="483"/>
                      <a:pt x="0" y="476"/>
                      <a:pt x="0" y="468"/>
                    </a:cubicBezTo>
                    <a:cubicBezTo>
                      <a:pt x="0" y="468"/>
                      <a:pt x="0" y="468"/>
                      <a:pt x="0" y="468"/>
                    </a:cubicBezTo>
                    <a:cubicBezTo>
                      <a:pt x="0" y="478"/>
                      <a:pt x="0" y="478"/>
                      <a:pt x="0" y="478"/>
                    </a:cubicBezTo>
                    <a:cubicBezTo>
                      <a:pt x="0" y="478"/>
                      <a:pt x="0" y="478"/>
                      <a:pt x="0" y="478"/>
                    </a:cubicBezTo>
                    <a:cubicBezTo>
                      <a:pt x="0" y="486"/>
                      <a:pt x="4" y="493"/>
                      <a:pt x="13" y="498"/>
                    </a:cubicBezTo>
                    <a:cubicBezTo>
                      <a:pt x="1591" y="1409"/>
                      <a:pt x="1591" y="1409"/>
                      <a:pt x="1591" y="1409"/>
                    </a:cubicBezTo>
                    <a:cubicBezTo>
                      <a:pt x="1610" y="1420"/>
                      <a:pt x="1644" y="1419"/>
                      <a:pt x="1667" y="1406"/>
                    </a:cubicBezTo>
                    <a:cubicBezTo>
                      <a:pt x="4039" y="34"/>
                      <a:pt x="4039" y="34"/>
                      <a:pt x="4039" y="34"/>
                    </a:cubicBezTo>
                    <a:cubicBezTo>
                      <a:pt x="4051" y="27"/>
                      <a:pt x="4057" y="18"/>
                      <a:pt x="4057" y="10"/>
                    </a:cubicBezTo>
                    <a:cubicBezTo>
                      <a:pt x="4057" y="10"/>
                      <a:pt x="4057" y="10"/>
                      <a:pt x="4057" y="10"/>
                    </a:cubicBezTo>
                    <a:cubicBezTo>
                      <a:pt x="4057" y="0"/>
                      <a:pt x="4057" y="0"/>
                      <a:pt x="4057" y="0"/>
                    </a:cubicBezTo>
                    <a:cubicBezTo>
                      <a:pt x="4057" y="0"/>
                      <a:pt x="4057" y="0"/>
                      <a:pt x="4057" y="0"/>
                    </a:cubicBezTo>
                    <a:cubicBezTo>
                      <a:pt x="4057" y="8"/>
                      <a:pt x="4051" y="17"/>
                      <a:pt x="4039" y="25"/>
                    </a:cubicBezTo>
                    <a:close/>
                  </a:path>
                </a:pathLst>
              </a:custGeom>
              <a:solidFill>
                <a:srgbClr val="9C31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" name="Freeform 485">
                <a:extLst>
                  <a:ext uri="{FF2B5EF4-FFF2-40B4-BE49-F238E27FC236}">
                    <a16:creationId xmlns:a16="http://schemas.microsoft.com/office/drawing/2014/main" id="{11C97482-D956-40A2-AF4B-C1D4D03D04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7313" y="3599228"/>
                <a:ext cx="4120545" cy="2374338"/>
              </a:xfrm>
              <a:custGeom>
                <a:avLst/>
                <a:gdLst>
                  <a:gd name="T0" fmla="*/ 1598 w 4071"/>
                  <a:gd name="T1" fmla="*/ 2341 h 2352"/>
                  <a:gd name="T2" fmla="*/ 20 w 4071"/>
                  <a:gd name="T3" fmla="*/ 1429 h 2352"/>
                  <a:gd name="T4" fmla="*/ 25 w 4071"/>
                  <a:gd name="T5" fmla="*/ 1386 h 2352"/>
                  <a:gd name="T6" fmla="*/ 2398 w 4071"/>
                  <a:gd name="T7" fmla="*/ 14 h 2352"/>
                  <a:gd name="T8" fmla="*/ 2474 w 4071"/>
                  <a:gd name="T9" fmla="*/ 11 h 2352"/>
                  <a:gd name="T10" fmla="*/ 4051 w 4071"/>
                  <a:gd name="T11" fmla="*/ 922 h 2352"/>
                  <a:gd name="T12" fmla="*/ 4046 w 4071"/>
                  <a:gd name="T13" fmla="*/ 966 h 2352"/>
                  <a:gd name="T14" fmla="*/ 1674 w 4071"/>
                  <a:gd name="T15" fmla="*/ 2338 h 2352"/>
                  <a:gd name="T16" fmla="*/ 1598 w 4071"/>
                  <a:gd name="T17" fmla="*/ 2341 h 2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71" h="2352">
                    <a:moveTo>
                      <a:pt x="1598" y="2341"/>
                    </a:moveTo>
                    <a:cubicBezTo>
                      <a:pt x="20" y="1429"/>
                      <a:pt x="20" y="1429"/>
                      <a:pt x="20" y="1429"/>
                    </a:cubicBezTo>
                    <a:cubicBezTo>
                      <a:pt x="0" y="1418"/>
                      <a:pt x="3" y="1399"/>
                      <a:pt x="25" y="1386"/>
                    </a:cubicBezTo>
                    <a:cubicBezTo>
                      <a:pt x="2398" y="14"/>
                      <a:pt x="2398" y="14"/>
                      <a:pt x="2398" y="14"/>
                    </a:cubicBezTo>
                    <a:cubicBezTo>
                      <a:pt x="2420" y="1"/>
                      <a:pt x="2454" y="0"/>
                      <a:pt x="2474" y="11"/>
                    </a:cubicBezTo>
                    <a:cubicBezTo>
                      <a:pt x="4051" y="922"/>
                      <a:pt x="4051" y="922"/>
                      <a:pt x="4051" y="922"/>
                    </a:cubicBezTo>
                    <a:cubicBezTo>
                      <a:pt x="4071" y="933"/>
                      <a:pt x="4068" y="953"/>
                      <a:pt x="4046" y="966"/>
                    </a:cubicBezTo>
                    <a:cubicBezTo>
                      <a:pt x="1674" y="2338"/>
                      <a:pt x="1674" y="2338"/>
                      <a:pt x="1674" y="2338"/>
                    </a:cubicBezTo>
                    <a:cubicBezTo>
                      <a:pt x="1651" y="2351"/>
                      <a:pt x="1617" y="2352"/>
                      <a:pt x="1598" y="2341"/>
                    </a:cubicBezTo>
                    <a:close/>
                  </a:path>
                </a:pathLst>
              </a:custGeom>
              <a:gradFill flip="none" rotWithShape="1">
                <a:gsLst>
                  <a:gs pos="18000">
                    <a:srgbClr val="9C319F">
                      <a:lumMod val="75000"/>
                    </a:srgbClr>
                  </a:gs>
                  <a:gs pos="100000">
                    <a:srgbClr val="9C319F">
                      <a:lumMod val="60000"/>
                      <a:lumOff val="40000"/>
                    </a:srgbClr>
                  </a:gs>
                </a:gsLst>
                <a:lin ang="13200000" scaled="0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" name="Freeform 486">
                <a:extLst>
                  <a:ext uri="{FF2B5EF4-FFF2-40B4-BE49-F238E27FC236}">
                    <a16:creationId xmlns:a16="http://schemas.microsoft.com/office/drawing/2014/main" id="{2D9717EB-0D5E-43D7-8BF9-AC67DE023F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3082" y="1792520"/>
                <a:ext cx="2699230" cy="3207857"/>
              </a:xfrm>
              <a:custGeom>
                <a:avLst/>
                <a:gdLst>
                  <a:gd name="T0" fmla="*/ 2633 w 2667"/>
                  <a:gd name="T1" fmla="*/ 1800 h 3177"/>
                  <a:gd name="T2" fmla="*/ 283 w 2667"/>
                  <a:gd name="T3" fmla="*/ 3156 h 3177"/>
                  <a:gd name="T4" fmla="*/ 198 w 2667"/>
                  <a:gd name="T5" fmla="*/ 3114 h 3177"/>
                  <a:gd name="T6" fmla="*/ 3 w 2667"/>
                  <a:gd name="T7" fmla="*/ 1440 h 3177"/>
                  <a:gd name="T8" fmla="*/ 35 w 2667"/>
                  <a:gd name="T9" fmla="*/ 1377 h 3177"/>
                  <a:gd name="T10" fmla="*/ 2384 w 2667"/>
                  <a:gd name="T11" fmla="*/ 20 h 3177"/>
                  <a:gd name="T12" fmla="*/ 2469 w 2667"/>
                  <a:gd name="T13" fmla="*/ 63 h 3177"/>
                  <a:gd name="T14" fmla="*/ 2664 w 2667"/>
                  <a:gd name="T15" fmla="*/ 1737 h 3177"/>
                  <a:gd name="T16" fmla="*/ 2633 w 2667"/>
                  <a:gd name="T17" fmla="*/ 1800 h 3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67" h="3177">
                    <a:moveTo>
                      <a:pt x="2633" y="1800"/>
                    </a:moveTo>
                    <a:cubicBezTo>
                      <a:pt x="283" y="3156"/>
                      <a:pt x="283" y="3156"/>
                      <a:pt x="283" y="3156"/>
                    </a:cubicBezTo>
                    <a:cubicBezTo>
                      <a:pt x="248" y="3177"/>
                      <a:pt x="203" y="3154"/>
                      <a:pt x="198" y="3114"/>
                    </a:cubicBezTo>
                    <a:cubicBezTo>
                      <a:pt x="3" y="1440"/>
                      <a:pt x="3" y="1440"/>
                      <a:pt x="3" y="1440"/>
                    </a:cubicBezTo>
                    <a:cubicBezTo>
                      <a:pt x="0" y="1415"/>
                      <a:pt x="13" y="1390"/>
                      <a:pt x="35" y="1377"/>
                    </a:cubicBezTo>
                    <a:cubicBezTo>
                      <a:pt x="2384" y="20"/>
                      <a:pt x="2384" y="20"/>
                      <a:pt x="2384" y="20"/>
                    </a:cubicBezTo>
                    <a:cubicBezTo>
                      <a:pt x="2420" y="0"/>
                      <a:pt x="2465" y="22"/>
                      <a:pt x="2469" y="63"/>
                    </a:cubicBezTo>
                    <a:cubicBezTo>
                      <a:pt x="2664" y="1737"/>
                      <a:pt x="2664" y="1737"/>
                      <a:pt x="2664" y="1737"/>
                    </a:cubicBezTo>
                    <a:cubicBezTo>
                      <a:pt x="2667" y="1762"/>
                      <a:pt x="2655" y="1787"/>
                      <a:pt x="2633" y="1800"/>
                    </a:cubicBezTo>
                  </a:path>
                </a:pathLst>
              </a:custGeom>
              <a:gradFill>
                <a:gsLst>
                  <a:gs pos="0">
                    <a:srgbClr val="9C319F">
                      <a:lumMod val="50000"/>
                    </a:srgbClr>
                  </a:gs>
                  <a:gs pos="100000">
                    <a:srgbClr val="9C319F">
                      <a:lumMod val="50000"/>
                      <a:alpha val="71000"/>
                    </a:srgbClr>
                  </a:gs>
                </a:gsLst>
                <a:lin ang="1140000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" name="Freeform 487">
                <a:extLst>
                  <a:ext uri="{FF2B5EF4-FFF2-40B4-BE49-F238E27FC236}">
                    <a16:creationId xmlns:a16="http://schemas.microsoft.com/office/drawing/2014/main" id="{291F4816-7AD3-4878-92D6-C9E91E75BD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6486" y="3173504"/>
                <a:ext cx="55269" cy="54522"/>
              </a:xfrm>
              <a:custGeom>
                <a:avLst/>
                <a:gdLst>
                  <a:gd name="T0" fmla="*/ 14 w 55"/>
                  <a:gd name="T1" fmla="*/ 0 h 54"/>
                  <a:gd name="T2" fmla="*/ 0 w 55"/>
                  <a:gd name="T3" fmla="*/ 31 h 54"/>
                  <a:gd name="T4" fmla="*/ 40 w 55"/>
                  <a:gd name="T5" fmla="*/ 54 h 54"/>
                  <a:gd name="T6" fmla="*/ 55 w 55"/>
                  <a:gd name="T7" fmla="*/ 23 h 54"/>
                  <a:gd name="T8" fmla="*/ 14 w 55"/>
                  <a:gd name="T9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54">
                    <a:moveTo>
                      <a:pt x="14" y="0"/>
                    </a:moveTo>
                    <a:cubicBezTo>
                      <a:pt x="7" y="9"/>
                      <a:pt x="2" y="19"/>
                      <a:pt x="0" y="31"/>
                    </a:cubicBezTo>
                    <a:cubicBezTo>
                      <a:pt x="40" y="54"/>
                      <a:pt x="40" y="54"/>
                      <a:pt x="40" y="54"/>
                    </a:cubicBezTo>
                    <a:cubicBezTo>
                      <a:pt x="42" y="42"/>
                      <a:pt x="47" y="32"/>
                      <a:pt x="55" y="23"/>
                    </a:cubicBezTo>
                    <a:cubicBezTo>
                      <a:pt x="14" y="0"/>
                      <a:pt x="14" y="0"/>
                      <a:pt x="14" y="0"/>
                    </a:cubicBezTo>
                  </a:path>
                </a:pathLst>
              </a:custGeom>
              <a:solidFill>
                <a:srgbClr val="4AC7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" name="Freeform 488">
                <a:extLst>
                  <a:ext uri="{FF2B5EF4-FFF2-40B4-BE49-F238E27FC236}">
                    <a16:creationId xmlns:a16="http://schemas.microsoft.com/office/drawing/2014/main" id="{A868C63F-7AAA-4F77-BD29-789BF126EE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6817" y="3197405"/>
                <a:ext cx="14937" cy="30622"/>
              </a:xfrm>
              <a:custGeom>
                <a:avLst/>
                <a:gdLst>
                  <a:gd name="T0" fmla="*/ 15 w 15"/>
                  <a:gd name="T1" fmla="*/ 0 h 31"/>
                  <a:gd name="T2" fmla="*/ 0 w 15"/>
                  <a:gd name="T3" fmla="*/ 31 h 31"/>
                  <a:gd name="T4" fmla="*/ 0 w 15"/>
                  <a:gd name="T5" fmla="*/ 31 h 31"/>
                  <a:gd name="T6" fmla="*/ 15 w 15"/>
                  <a:gd name="T7" fmla="*/ 0 h 31"/>
                  <a:gd name="T8" fmla="*/ 15 w 15"/>
                  <a:gd name="T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31">
                    <a:moveTo>
                      <a:pt x="15" y="0"/>
                    </a:moveTo>
                    <a:cubicBezTo>
                      <a:pt x="7" y="9"/>
                      <a:pt x="2" y="19"/>
                      <a:pt x="0" y="31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2" y="19"/>
                      <a:pt x="7" y="9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</a:path>
                </a:pathLst>
              </a:custGeom>
              <a:solidFill>
                <a:srgbClr val="42B6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E1AD01BF-DA82-4248-AFE9-217E44B60901}"/>
                  </a:ext>
                </a:extLst>
              </p:cNvPr>
              <p:cNvGrpSpPr/>
              <p:nvPr/>
            </p:nvGrpSpPr>
            <p:grpSpPr>
              <a:xfrm>
                <a:off x="3369796" y="3946527"/>
                <a:ext cx="2397491" cy="1383971"/>
                <a:chOff x="3804170" y="3751465"/>
                <a:chExt cx="1869405" cy="1079129"/>
              </a:xfrm>
              <a:solidFill>
                <a:srgbClr val="9C319F">
                  <a:lumMod val="75000"/>
                </a:srgbClr>
              </a:solidFill>
            </p:grpSpPr>
            <p:sp>
              <p:nvSpPr>
                <p:cNvPr id="44" name="Freeform 489">
                  <a:extLst>
                    <a:ext uri="{FF2B5EF4-FFF2-40B4-BE49-F238E27FC236}">
                      <a16:creationId xmlns:a16="http://schemas.microsoft.com/office/drawing/2014/main" id="{7D5DD8E4-BF81-464D-9AC2-808D29395E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04170" y="4498062"/>
                  <a:ext cx="124045" cy="71632"/>
                </a:xfrm>
                <a:custGeom>
                  <a:avLst/>
                  <a:gdLst>
                    <a:gd name="T0" fmla="*/ 150 w 157"/>
                    <a:gd name="T1" fmla="*/ 52 h 91"/>
                    <a:gd name="T2" fmla="*/ 90 w 157"/>
                    <a:gd name="T3" fmla="*/ 87 h 91"/>
                    <a:gd name="T4" fmla="*/ 69 w 157"/>
                    <a:gd name="T5" fmla="*/ 88 h 91"/>
                    <a:gd name="T6" fmla="*/ 5 w 157"/>
                    <a:gd name="T7" fmla="*/ 51 h 91"/>
                    <a:gd name="T8" fmla="*/ 7 w 157"/>
                    <a:gd name="T9" fmla="*/ 39 h 91"/>
                    <a:gd name="T10" fmla="*/ 67 w 157"/>
                    <a:gd name="T11" fmla="*/ 4 h 91"/>
                    <a:gd name="T12" fmla="*/ 88 w 157"/>
                    <a:gd name="T13" fmla="*/ 3 h 91"/>
                    <a:gd name="T14" fmla="*/ 152 w 157"/>
                    <a:gd name="T15" fmla="*/ 40 h 91"/>
                    <a:gd name="T16" fmla="*/ 150 w 157"/>
                    <a:gd name="T17" fmla="*/ 52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7" h="91">
                      <a:moveTo>
                        <a:pt x="150" y="52"/>
                      </a:moveTo>
                      <a:cubicBezTo>
                        <a:pt x="90" y="87"/>
                        <a:pt x="90" y="87"/>
                        <a:pt x="90" y="87"/>
                      </a:cubicBezTo>
                      <a:cubicBezTo>
                        <a:pt x="83" y="91"/>
                        <a:pt x="74" y="91"/>
                        <a:pt x="69" y="88"/>
                      </a:cubicBezTo>
                      <a:cubicBezTo>
                        <a:pt x="5" y="51"/>
                        <a:pt x="5" y="51"/>
                        <a:pt x="5" y="51"/>
                      </a:cubicBezTo>
                      <a:cubicBezTo>
                        <a:pt x="0" y="48"/>
                        <a:pt x="0" y="43"/>
                        <a:pt x="7" y="39"/>
                      </a:cubicBezTo>
                      <a:cubicBezTo>
                        <a:pt x="67" y="4"/>
                        <a:pt x="67" y="4"/>
                        <a:pt x="67" y="4"/>
                      </a:cubicBezTo>
                      <a:cubicBezTo>
                        <a:pt x="73" y="1"/>
                        <a:pt x="83" y="0"/>
                        <a:pt x="88" y="3"/>
                      </a:cubicBezTo>
                      <a:cubicBezTo>
                        <a:pt x="152" y="40"/>
                        <a:pt x="152" y="40"/>
                        <a:pt x="152" y="40"/>
                      </a:cubicBezTo>
                      <a:cubicBezTo>
                        <a:pt x="157" y="43"/>
                        <a:pt x="157" y="49"/>
                        <a:pt x="150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5" name="Freeform 490">
                  <a:extLst>
                    <a:ext uri="{FF2B5EF4-FFF2-40B4-BE49-F238E27FC236}">
                      <a16:creationId xmlns:a16="http://schemas.microsoft.com/office/drawing/2014/main" id="{4F2F2566-8968-4297-AD5C-AE46443799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26307" y="4335581"/>
                  <a:ext cx="581787" cy="334862"/>
                </a:xfrm>
                <a:custGeom>
                  <a:avLst/>
                  <a:gdLst>
                    <a:gd name="T0" fmla="*/ 730 w 737"/>
                    <a:gd name="T1" fmla="*/ 52 h 426"/>
                    <a:gd name="T2" fmla="*/ 90 w 737"/>
                    <a:gd name="T3" fmla="*/ 422 h 426"/>
                    <a:gd name="T4" fmla="*/ 69 w 737"/>
                    <a:gd name="T5" fmla="*/ 422 h 426"/>
                    <a:gd name="T6" fmla="*/ 5 w 737"/>
                    <a:gd name="T7" fmla="*/ 386 h 426"/>
                    <a:gd name="T8" fmla="*/ 6 w 737"/>
                    <a:gd name="T9" fmla="*/ 374 h 426"/>
                    <a:gd name="T10" fmla="*/ 647 w 737"/>
                    <a:gd name="T11" fmla="*/ 4 h 426"/>
                    <a:gd name="T12" fmla="*/ 667 w 737"/>
                    <a:gd name="T13" fmla="*/ 3 h 426"/>
                    <a:gd name="T14" fmla="*/ 731 w 737"/>
                    <a:gd name="T15" fmla="*/ 40 h 426"/>
                    <a:gd name="T16" fmla="*/ 730 w 737"/>
                    <a:gd name="T17" fmla="*/ 52 h 4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37" h="426">
                      <a:moveTo>
                        <a:pt x="730" y="52"/>
                      </a:moveTo>
                      <a:cubicBezTo>
                        <a:pt x="90" y="422"/>
                        <a:pt x="90" y="422"/>
                        <a:pt x="90" y="422"/>
                      </a:cubicBezTo>
                      <a:cubicBezTo>
                        <a:pt x="83" y="425"/>
                        <a:pt x="74" y="426"/>
                        <a:pt x="69" y="422"/>
                      </a:cubicBezTo>
                      <a:cubicBezTo>
                        <a:pt x="5" y="386"/>
                        <a:pt x="5" y="386"/>
                        <a:pt x="5" y="386"/>
                      </a:cubicBezTo>
                      <a:cubicBezTo>
                        <a:pt x="0" y="383"/>
                        <a:pt x="0" y="377"/>
                        <a:pt x="6" y="374"/>
                      </a:cubicBezTo>
                      <a:cubicBezTo>
                        <a:pt x="647" y="4"/>
                        <a:pt x="647" y="4"/>
                        <a:pt x="647" y="4"/>
                      </a:cubicBezTo>
                      <a:cubicBezTo>
                        <a:pt x="653" y="1"/>
                        <a:pt x="662" y="0"/>
                        <a:pt x="667" y="3"/>
                      </a:cubicBezTo>
                      <a:cubicBezTo>
                        <a:pt x="731" y="40"/>
                        <a:pt x="731" y="40"/>
                        <a:pt x="731" y="40"/>
                      </a:cubicBezTo>
                      <a:cubicBezTo>
                        <a:pt x="737" y="43"/>
                        <a:pt x="736" y="48"/>
                        <a:pt x="730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6" name="Freeform 491">
                  <a:extLst>
                    <a:ext uri="{FF2B5EF4-FFF2-40B4-BE49-F238E27FC236}">
                      <a16:creationId xmlns:a16="http://schemas.microsoft.com/office/drawing/2014/main" id="{4B56DC00-EF1B-431A-A1D4-06422B9A61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57930" y="4119522"/>
                  <a:ext cx="124045" cy="71632"/>
                </a:xfrm>
                <a:custGeom>
                  <a:avLst/>
                  <a:gdLst>
                    <a:gd name="T0" fmla="*/ 150 w 157"/>
                    <a:gd name="T1" fmla="*/ 52 h 91"/>
                    <a:gd name="T2" fmla="*/ 89 w 157"/>
                    <a:gd name="T3" fmla="*/ 87 h 91"/>
                    <a:gd name="T4" fmla="*/ 69 w 157"/>
                    <a:gd name="T5" fmla="*/ 88 h 91"/>
                    <a:gd name="T6" fmla="*/ 5 w 157"/>
                    <a:gd name="T7" fmla="*/ 51 h 91"/>
                    <a:gd name="T8" fmla="*/ 6 w 157"/>
                    <a:gd name="T9" fmla="*/ 39 h 91"/>
                    <a:gd name="T10" fmla="*/ 67 w 157"/>
                    <a:gd name="T11" fmla="*/ 4 h 91"/>
                    <a:gd name="T12" fmla="*/ 88 w 157"/>
                    <a:gd name="T13" fmla="*/ 3 h 91"/>
                    <a:gd name="T14" fmla="*/ 152 w 157"/>
                    <a:gd name="T15" fmla="*/ 40 h 91"/>
                    <a:gd name="T16" fmla="*/ 150 w 157"/>
                    <a:gd name="T17" fmla="*/ 52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7" h="91">
                      <a:moveTo>
                        <a:pt x="150" y="52"/>
                      </a:moveTo>
                      <a:cubicBezTo>
                        <a:pt x="89" y="87"/>
                        <a:pt x="89" y="87"/>
                        <a:pt x="89" y="87"/>
                      </a:cubicBezTo>
                      <a:cubicBezTo>
                        <a:pt x="83" y="91"/>
                        <a:pt x="74" y="91"/>
                        <a:pt x="69" y="88"/>
                      </a:cubicBezTo>
                      <a:cubicBezTo>
                        <a:pt x="5" y="51"/>
                        <a:pt x="5" y="51"/>
                        <a:pt x="5" y="51"/>
                      </a:cubicBezTo>
                      <a:cubicBezTo>
                        <a:pt x="0" y="48"/>
                        <a:pt x="0" y="43"/>
                        <a:pt x="6" y="39"/>
                      </a:cubicBezTo>
                      <a:cubicBezTo>
                        <a:pt x="67" y="4"/>
                        <a:pt x="67" y="4"/>
                        <a:pt x="67" y="4"/>
                      </a:cubicBezTo>
                      <a:cubicBezTo>
                        <a:pt x="73" y="1"/>
                        <a:pt x="83" y="0"/>
                        <a:pt x="88" y="3"/>
                      </a:cubicBezTo>
                      <a:cubicBezTo>
                        <a:pt x="152" y="40"/>
                        <a:pt x="152" y="40"/>
                        <a:pt x="152" y="40"/>
                      </a:cubicBezTo>
                      <a:cubicBezTo>
                        <a:pt x="157" y="43"/>
                        <a:pt x="156" y="49"/>
                        <a:pt x="150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7" name="Freeform 492">
                  <a:extLst>
                    <a:ext uri="{FF2B5EF4-FFF2-40B4-BE49-F238E27FC236}">
                      <a16:creationId xmlns:a16="http://schemas.microsoft.com/office/drawing/2014/main" id="{4F0FFFC6-1DF2-41EC-BD7F-7D81E2E405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52856" y="4065362"/>
                  <a:ext cx="124627" cy="71049"/>
                </a:xfrm>
                <a:custGeom>
                  <a:avLst/>
                  <a:gdLst>
                    <a:gd name="T0" fmla="*/ 151 w 158"/>
                    <a:gd name="T1" fmla="*/ 51 h 90"/>
                    <a:gd name="T2" fmla="*/ 90 w 158"/>
                    <a:gd name="T3" fmla="*/ 86 h 90"/>
                    <a:gd name="T4" fmla="*/ 69 w 158"/>
                    <a:gd name="T5" fmla="*/ 87 h 90"/>
                    <a:gd name="T6" fmla="*/ 6 w 158"/>
                    <a:gd name="T7" fmla="*/ 51 h 90"/>
                    <a:gd name="T8" fmla="*/ 7 w 158"/>
                    <a:gd name="T9" fmla="*/ 39 h 90"/>
                    <a:gd name="T10" fmla="*/ 68 w 158"/>
                    <a:gd name="T11" fmla="*/ 3 h 90"/>
                    <a:gd name="T12" fmla="*/ 89 w 158"/>
                    <a:gd name="T13" fmla="*/ 3 h 90"/>
                    <a:gd name="T14" fmla="*/ 152 w 158"/>
                    <a:gd name="T15" fmla="*/ 39 h 90"/>
                    <a:gd name="T16" fmla="*/ 151 w 158"/>
                    <a:gd name="T17" fmla="*/ 51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8" h="90">
                      <a:moveTo>
                        <a:pt x="151" y="51"/>
                      </a:moveTo>
                      <a:cubicBezTo>
                        <a:pt x="90" y="86"/>
                        <a:pt x="90" y="86"/>
                        <a:pt x="90" y="86"/>
                      </a:cubicBezTo>
                      <a:cubicBezTo>
                        <a:pt x="84" y="90"/>
                        <a:pt x="75" y="90"/>
                        <a:pt x="69" y="87"/>
                      </a:cubicBezTo>
                      <a:cubicBezTo>
                        <a:pt x="6" y="51"/>
                        <a:pt x="6" y="51"/>
                        <a:pt x="6" y="51"/>
                      </a:cubicBezTo>
                      <a:cubicBezTo>
                        <a:pt x="0" y="47"/>
                        <a:pt x="1" y="42"/>
                        <a:pt x="7" y="39"/>
                      </a:cubicBezTo>
                      <a:cubicBezTo>
                        <a:pt x="68" y="3"/>
                        <a:pt x="68" y="3"/>
                        <a:pt x="68" y="3"/>
                      </a:cubicBezTo>
                      <a:cubicBezTo>
                        <a:pt x="74" y="0"/>
                        <a:pt x="83" y="0"/>
                        <a:pt x="89" y="3"/>
                      </a:cubicBezTo>
                      <a:cubicBezTo>
                        <a:pt x="152" y="39"/>
                        <a:pt x="152" y="39"/>
                        <a:pt x="152" y="39"/>
                      </a:cubicBezTo>
                      <a:cubicBezTo>
                        <a:pt x="158" y="42"/>
                        <a:pt x="157" y="48"/>
                        <a:pt x="151" y="5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8" name="Freeform 493">
                  <a:extLst>
                    <a:ext uri="{FF2B5EF4-FFF2-40B4-BE49-F238E27FC236}">
                      <a16:creationId xmlns:a16="http://schemas.microsoft.com/office/drawing/2014/main" id="{79B524C5-0008-4331-8FE1-156E794E86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68413" y="4016443"/>
                  <a:ext cx="124627" cy="71632"/>
                </a:xfrm>
                <a:custGeom>
                  <a:avLst/>
                  <a:gdLst>
                    <a:gd name="T0" fmla="*/ 151 w 158"/>
                    <a:gd name="T1" fmla="*/ 52 h 91"/>
                    <a:gd name="T2" fmla="*/ 90 w 158"/>
                    <a:gd name="T3" fmla="*/ 87 h 91"/>
                    <a:gd name="T4" fmla="*/ 69 w 158"/>
                    <a:gd name="T5" fmla="*/ 88 h 91"/>
                    <a:gd name="T6" fmla="*/ 5 w 158"/>
                    <a:gd name="T7" fmla="*/ 51 h 91"/>
                    <a:gd name="T8" fmla="*/ 7 w 158"/>
                    <a:gd name="T9" fmla="*/ 39 h 91"/>
                    <a:gd name="T10" fmla="*/ 68 w 158"/>
                    <a:gd name="T11" fmla="*/ 4 h 91"/>
                    <a:gd name="T12" fmla="*/ 89 w 158"/>
                    <a:gd name="T13" fmla="*/ 3 h 91"/>
                    <a:gd name="T14" fmla="*/ 152 w 158"/>
                    <a:gd name="T15" fmla="*/ 40 h 91"/>
                    <a:gd name="T16" fmla="*/ 151 w 158"/>
                    <a:gd name="T17" fmla="*/ 52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8" h="91">
                      <a:moveTo>
                        <a:pt x="151" y="52"/>
                      </a:moveTo>
                      <a:cubicBezTo>
                        <a:pt x="90" y="87"/>
                        <a:pt x="90" y="87"/>
                        <a:pt x="90" y="87"/>
                      </a:cubicBezTo>
                      <a:cubicBezTo>
                        <a:pt x="84" y="90"/>
                        <a:pt x="74" y="91"/>
                        <a:pt x="69" y="88"/>
                      </a:cubicBezTo>
                      <a:cubicBezTo>
                        <a:pt x="5" y="51"/>
                        <a:pt x="5" y="51"/>
                        <a:pt x="5" y="51"/>
                      </a:cubicBezTo>
                      <a:cubicBezTo>
                        <a:pt x="0" y="48"/>
                        <a:pt x="1" y="42"/>
                        <a:pt x="7" y="39"/>
                      </a:cubicBezTo>
                      <a:cubicBezTo>
                        <a:pt x="68" y="4"/>
                        <a:pt x="68" y="4"/>
                        <a:pt x="68" y="4"/>
                      </a:cubicBezTo>
                      <a:cubicBezTo>
                        <a:pt x="74" y="0"/>
                        <a:pt x="83" y="0"/>
                        <a:pt x="89" y="3"/>
                      </a:cubicBezTo>
                      <a:cubicBezTo>
                        <a:pt x="152" y="40"/>
                        <a:pt x="152" y="40"/>
                        <a:pt x="152" y="40"/>
                      </a:cubicBezTo>
                      <a:cubicBezTo>
                        <a:pt x="158" y="43"/>
                        <a:pt x="157" y="48"/>
                        <a:pt x="151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9" name="Freeform 494">
                  <a:extLst>
                    <a:ext uri="{FF2B5EF4-FFF2-40B4-BE49-F238E27FC236}">
                      <a16:creationId xmlns:a16="http://schemas.microsoft.com/office/drawing/2014/main" id="{144878B8-8025-48A3-AEC7-C9FDAFA110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49530" y="4009455"/>
                  <a:ext cx="124045" cy="71632"/>
                </a:xfrm>
                <a:custGeom>
                  <a:avLst/>
                  <a:gdLst>
                    <a:gd name="T0" fmla="*/ 150 w 157"/>
                    <a:gd name="T1" fmla="*/ 52 h 91"/>
                    <a:gd name="T2" fmla="*/ 90 w 157"/>
                    <a:gd name="T3" fmla="*/ 87 h 91"/>
                    <a:gd name="T4" fmla="*/ 69 w 157"/>
                    <a:gd name="T5" fmla="*/ 88 h 91"/>
                    <a:gd name="T6" fmla="*/ 5 w 157"/>
                    <a:gd name="T7" fmla="*/ 51 h 91"/>
                    <a:gd name="T8" fmla="*/ 6 w 157"/>
                    <a:gd name="T9" fmla="*/ 39 h 91"/>
                    <a:gd name="T10" fmla="*/ 67 w 157"/>
                    <a:gd name="T11" fmla="*/ 4 h 91"/>
                    <a:gd name="T12" fmla="*/ 88 w 157"/>
                    <a:gd name="T13" fmla="*/ 3 h 91"/>
                    <a:gd name="T14" fmla="*/ 152 w 157"/>
                    <a:gd name="T15" fmla="*/ 40 h 91"/>
                    <a:gd name="T16" fmla="*/ 150 w 157"/>
                    <a:gd name="T17" fmla="*/ 52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7" h="91">
                      <a:moveTo>
                        <a:pt x="150" y="52"/>
                      </a:moveTo>
                      <a:cubicBezTo>
                        <a:pt x="90" y="87"/>
                        <a:pt x="90" y="87"/>
                        <a:pt x="90" y="87"/>
                      </a:cubicBezTo>
                      <a:cubicBezTo>
                        <a:pt x="83" y="90"/>
                        <a:pt x="74" y="91"/>
                        <a:pt x="69" y="88"/>
                      </a:cubicBezTo>
                      <a:cubicBezTo>
                        <a:pt x="5" y="51"/>
                        <a:pt x="5" y="51"/>
                        <a:pt x="5" y="51"/>
                      </a:cubicBezTo>
                      <a:cubicBezTo>
                        <a:pt x="0" y="48"/>
                        <a:pt x="0" y="42"/>
                        <a:pt x="6" y="39"/>
                      </a:cubicBezTo>
                      <a:cubicBezTo>
                        <a:pt x="67" y="4"/>
                        <a:pt x="67" y="4"/>
                        <a:pt x="67" y="4"/>
                      </a:cubicBezTo>
                      <a:cubicBezTo>
                        <a:pt x="73" y="0"/>
                        <a:pt x="83" y="0"/>
                        <a:pt x="88" y="3"/>
                      </a:cubicBezTo>
                      <a:cubicBezTo>
                        <a:pt x="152" y="40"/>
                        <a:pt x="152" y="40"/>
                        <a:pt x="152" y="40"/>
                      </a:cubicBezTo>
                      <a:cubicBezTo>
                        <a:pt x="157" y="43"/>
                        <a:pt x="156" y="48"/>
                        <a:pt x="150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0" name="Freeform 495">
                  <a:extLst>
                    <a:ext uri="{FF2B5EF4-FFF2-40B4-BE49-F238E27FC236}">
                      <a16:creationId xmlns:a16="http://schemas.microsoft.com/office/drawing/2014/main" id="{9B4C42A3-4345-44D5-97E0-76950EC818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48518" y="4733921"/>
                  <a:ext cx="167722" cy="96673"/>
                </a:xfrm>
                <a:custGeom>
                  <a:avLst/>
                  <a:gdLst>
                    <a:gd name="T0" fmla="*/ 206 w 213"/>
                    <a:gd name="T1" fmla="*/ 52 h 123"/>
                    <a:gd name="T2" fmla="*/ 90 w 213"/>
                    <a:gd name="T3" fmla="*/ 119 h 123"/>
                    <a:gd name="T4" fmla="*/ 69 w 213"/>
                    <a:gd name="T5" fmla="*/ 120 h 123"/>
                    <a:gd name="T6" fmla="*/ 5 w 213"/>
                    <a:gd name="T7" fmla="*/ 83 h 123"/>
                    <a:gd name="T8" fmla="*/ 7 w 213"/>
                    <a:gd name="T9" fmla="*/ 71 h 123"/>
                    <a:gd name="T10" fmla="*/ 123 w 213"/>
                    <a:gd name="T11" fmla="*/ 4 h 123"/>
                    <a:gd name="T12" fmla="*/ 144 w 213"/>
                    <a:gd name="T13" fmla="*/ 3 h 123"/>
                    <a:gd name="T14" fmla="*/ 207 w 213"/>
                    <a:gd name="T15" fmla="*/ 40 h 123"/>
                    <a:gd name="T16" fmla="*/ 206 w 213"/>
                    <a:gd name="T17" fmla="*/ 52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13" h="123">
                      <a:moveTo>
                        <a:pt x="206" y="52"/>
                      </a:moveTo>
                      <a:cubicBezTo>
                        <a:pt x="90" y="119"/>
                        <a:pt x="90" y="119"/>
                        <a:pt x="90" y="119"/>
                      </a:cubicBezTo>
                      <a:cubicBezTo>
                        <a:pt x="84" y="122"/>
                        <a:pt x="74" y="123"/>
                        <a:pt x="69" y="120"/>
                      </a:cubicBezTo>
                      <a:cubicBezTo>
                        <a:pt x="5" y="83"/>
                        <a:pt x="5" y="83"/>
                        <a:pt x="5" y="83"/>
                      </a:cubicBezTo>
                      <a:cubicBezTo>
                        <a:pt x="0" y="80"/>
                        <a:pt x="0" y="74"/>
                        <a:pt x="7" y="71"/>
                      </a:cubicBezTo>
                      <a:cubicBezTo>
                        <a:pt x="123" y="4"/>
                        <a:pt x="123" y="4"/>
                        <a:pt x="123" y="4"/>
                      </a:cubicBezTo>
                      <a:cubicBezTo>
                        <a:pt x="129" y="0"/>
                        <a:pt x="138" y="0"/>
                        <a:pt x="144" y="3"/>
                      </a:cubicBezTo>
                      <a:cubicBezTo>
                        <a:pt x="207" y="40"/>
                        <a:pt x="207" y="40"/>
                        <a:pt x="207" y="40"/>
                      </a:cubicBezTo>
                      <a:cubicBezTo>
                        <a:pt x="213" y="43"/>
                        <a:pt x="212" y="48"/>
                        <a:pt x="206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1" name="Freeform 496">
                  <a:extLst>
                    <a:ext uri="{FF2B5EF4-FFF2-40B4-BE49-F238E27FC236}">
                      <a16:creationId xmlns:a16="http://schemas.microsoft.com/office/drawing/2014/main" id="{C4D6F7D8-93CC-4FAD-854C-05497D3D09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86539" y="4653555"/>
                  <a:ext cx="168305" cy="96673"/>
                </a:xfrm>
                <a:custGeom>
                  <a:avLst/>
                  <a:gdLst>
                    <a:gd name="T0" fmla="*/ 206 w 213"/>
                    <a:gd name="T1" fmla="*/ 52 h 123"/>
                    <a:gd name="T2" fmla="*/ 90 w 213"/>
                    <a:gd name="T3" fmla="*/ 119 h 123"/>
                    <a:gd name="T4" fmla="*/ 69 w 213"/>
                    <a:gd name="T5" fmla="*/ 120 h 123"/>
                    <a:gd name="T6" fmla="*/ 6 w 213"/>
                    <a:gd name="T7" fmla="*/ 84 h 123"/>
                    <a:gd name="T8" fmla="*/ 7 w 213"/>
                    <a:gd name="T9" fmla="*/ 72 h 123"/>
                    <a:gd name="T10" fmla="*/ 123 w 213"/>
                    <a:gd name="T11" fmla="*/ 4 h 123"/>
                    <a:gd name="T12" fmla="*/ 144 w 213"/>
                    <a:gd name="T13" fmla="*/ 4 h 123"/>
                    <a:gd name="T14" fmla="*/ 208 w 213"/>
                    <a:gd name="T15" fmla="*/ 40 h 123"/>
                    <a:gd name="T16" fmla="*/ 206 w 213"/>
                    <a:gd name="T17" fmla="*/ 52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13" h="123">
                      <a:moveTo>
                        <a:pt x="206" y="52"/>
                      </a:moveTo>
                      <a:cubicBezTo>
                        <a:pt x="90" y="119"/>
                        <a:pt x="90" y="119"/>
                        <a:pt x="90" y="119"/>
                      </a:cubicBezTo>
                      <a:cubicBezTo>
                        <a:pt x="84" y="123"/>
                        <a:pt x="75" y="123"/>
                        <a:pt x="69" y="120"/>
                      </a:cubicBezTo>
                      <a:cubicBezTo>
                        <a:pt x="6" y="84"/>
                        <a:pt x="6" y="84"/>
                        <a:pt x="6" y="84"/>
                      </a:cubicBezTo>
                      <a:cubicBezTo>
                        <a:pt x="0" y="80"/>
                        <a:pt x="1" y="75"/>
                        <a:pt x="7" y="72"/>
                      </a:cubicBezTo>
                      <a:cubicBezTo>
                        <a:pt x="123" y="4"/>
                        <a:pt x="123" y="4"/>
                        <a:pt x="123" y="4"/>
                      </a:cubicBezTo>
                      <a:cubicBezTo>
                        <a:pt x="129" y="1"/>
                        <a:pt x="139" y="0"/>
                        <a:pt x="144" y="4"/>
                      </a:cubicBezTo>
                      <a:cubicBezTo>
                        <a:pt x="208" y="40"/>
                        <a:pt x="208" y="40"/>
                        <a:pt x="208" y="40"/>
                      </a:cubicBezTo>
                      <a:cubicBezTo>
                        <a:pt x="213" y="43"/>
                        <a:pt x="212" y="49"/>
                        <a:pt x="206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2" name="Freeform 497">
                  <a:extLst>
                    <a:ext uri="{FF2B5EF4-FFF2-40B4-BE49-F238E27FC236}">
                      <a16:creationId xmlns:a16="http://schemas.microsoft.com/office/drawing/2014/main" id="{A6C72895-D3D5-4422-973B-5D79544BD5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81887" y="4253467"/>
                  <a:ext cx="168305" cy="96673"/>
                </a:xfrm>
                <a:custGeom>
                  <a:avLst/>
                  <a:gdLst>
                    <a:gd name="T0" fmla="*/ 207 w 213"/>
                    <a:gd name="T1" fmla="*/ 52 h 123"/>
                    <a:gd name="T2" fmla="*/ 90 w 213"/>
                    <a:gd name="T3" fmla="*/ 119 h 123"/>
                    <a:gd name="T4" fmla="*/ 69 w 213"/>
                    <a:gd name="T5" fmla="*/ 120 h 123"/>
                    <a:gd name="T6" fmla="*/ 6 w 213"/>
                    <a:gd name="T7" fmla="*/ 83 h 123"/>
                    <a:gd name="T8" fmla="*/ 7 w 213"/>
                    <a:gd name="T9" fmla="*/ 71 h 123"/>
                    <a:gd name="T10" fmla="*/ 123 w 213"/>
                    <a:gd name="T11" fmla="*/ 4 h 123"/>
                    <a:gd name="T12" fmla="*/ 144 w 213"/>
                    <a:gd name="T13" fmla="*/ 3 h 123"/>
                    <a:gd name="T14" fmla="*/ 208 w 213"/>
                    <a:gd name="T15" fmla="*/ 40 h 123"/>
                    <a:gd name="T16" fmla="*/ 207 w 213"/>
                    <a:gd name="T17" fmla="*/ 52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13" h="123">
                      <a:moveTo>
                        <a:pt x="207" y="52"/>
                      </a:moveTo>
                      <a:cubicBezTo>
                        <a:pt x="90" y="119"/>
                        <a:pt x="90" y="119"/>
                        <a:pt x="90" y="119"/>
                      </a:cubicBezTo>
                      <a:cubicBezTo>
                        <a:pt x="84" y="122"/>
                        <a:pt x="75" y="123"/>
                        <a:pt x="69" y="120"/>
                      </a:cubicBezTo>
                      <a:cubicBezTo>
                        <a:pt x="6" y="83"/>
                        <a:pt x="6" y="83"/>
                        <a:pt x="6" y="83"/>
                      </a:cubicBezTo>
                      <a:cubicBezTo>
                        <a:pt x="0" y="80"/>
                        <a:pt x="1" y="74"/>
                        <a:pt x="7" y="71"/>
                      </a:cubicBezTo>
                      <a:cubicBezTo>
                        <a:pt x="123" y="4"/>
                        <a:pt x="123" y="4"/>
                        <a:pt x="123" y="4"/>
                      </a:cubicBezTo>
                      <a:cubicBezTo>
                        <a:pt x="130" y="0"/>
                        <a:pt x="139" y="0"/>
                        <a:pt x="144" y="3"/>
                      </a:cubicBezTo>
                      <a:cubicBezTo>
                        <a:pt x="208" y="40"/>
                        <a:pt x="208" y="40"/>
                        <a:pt x="208" y="40"/>
                      </a:cubicBezTo>
                      <a:cubicBezTo>
                        <a:pt x="213" y="43"/>
                        <a:pt x="213" y="48"/>
                        <a:pt x="207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3" name="Freeform 498">
                  <a:extLst>
                    <a:ext uri="{FF2B5EF4-FFF2-40B4-BE49-F238E27FC236}">
                      <a16:creationId xmlns:a16="http://schemas.microsoft.com/office/drawing/2014/main" id="{DB2D0A83-3C25-41B4-9AEE-192276E0D8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20491" y="4173100"/>
                  <a:ext cx="168305" cy="96673"/>
                </a:xfrm>
                <a:custGeom>
                  <a:avLst/>
                  <a:gdLst>
                    <a:gd name="T0" fmla="*/ 206 w 213"/>
                    <a:gd name="T1" fmla="*/ 52 h 123"/>
                    <a:gd name="T2" fmla="*/ 90 w 213"/>
                    <a:gd name="T3" fmla="*/ 119 h 123"/>
                    <a:gd name="T4" fmla="*/ 69 w 213"/>
                    <a:gd name="T5" fmla="*/ 120 h 123"/>
                    <a:gd name="T6" fmla="*/ 5 w 213"/>
                    <a:gd name="T7" fmla="*/ 84 h 123"/>
                    <a:gd name="T8" fmla="*/ 7 w 213"/>
                    <a:gd name="T9" fmla="*/ 71 h 123"/>
                    <a:gd name="T10" fmla="*/ 123 w 213"/>
                    <a:gd name="T11" fmla="*/ 4 h 123"/>
                    <a:gd name="T12" fmla="*/ 144 w 213"/>
                    <a:gd name="T13" fmla="*/ 4 h 123"/>
                    <a:gd name="T14" fmla="*/ 207 w 213"/>
                    <a:gd name="T15" fmla="*/ 40 h 123"/>
                    <a:gd name="T16" fmla="*/ 206 w 213"/>
                    <a:gd name="T17" fmla="*/ 52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13" h="123">
                      <a:moveTo>
                        <a:pt x="206" y="52"/>
                      </a:moveTo>
                      <a:cubicBezTo>
                        <a:pt x="90" y="119"/>
                        <a:pt x="90" y="119"/>
                        <a:pt x="90" y="119"/>
                      </a:cubicBezTo>
                      <a:cubicBezTo>
                        <a:pt x="84" y="123"/>
                        <a:pt x="74" y="123"/>
                        <a:pt x="69" y="120"/>
                      </a:cubicBezTo>
                      <a:cubicBezTo>
                        <a:pt x="5" y="84"/>
                        <a:pt x="5" y="84"/>
                        <a:pt x="5" y="84"/>
                      </a:cubicBezTo>
                      <a:cubicBezTo>
                        <a:pt x="0" y="80"/>
                        <a:pt x="1" y="75"/>
                        <a:pt x="7" y="71"/>
                      </a:cubicBezTo>
                      <a:cubicBezTo>
                        <a:pt x="123" y="4"/>
                        <a:pt x="123" y="4"/>
                        <a:pt x="123" y="4"/>
                      </a:cubicBezTo>
                      <a:cubicBezTo>
                        <a:pt x="129" y="1"/>
                        <a:pt x="138" y="0"/>
                        <a:pt x="144" y="4"/>
                      </a:cubicBezTo>
                      <a:cubicBezTo>
                        <a:pt x="207" y="40"/>
                        <a:pt x="207" y="40"/>
                        <a:pt x="207" y="40"/>
                      </a:cubicBezTo>
                      <a:cubicBezTo>
                        <a:pt x="213" y="43"/>
                        <a:pt x="212" y="49"/>
                        <a:pt x="206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4" name="Freeform 499">
                  <a:extLst>
                    <a:ext uri="{FF2B5EF4-FFF2-40B4-BE49-F238E27FC236}">
                      <a16:creationId xmlns:a16="http://schemas.microsoft.com/office/drawing/2014/main" id="{C8810684-0EBD-4A30-8917-A856F220A43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68398" y="4403718"/>
                  <a:ext cx="124627" cy="71632"/>
                </a:xfrm>
                <a:custGeom>
                  <a:avLst/>
                  <a:gdLst>
                    <a:gd name="T0" fmla="*/ 151 w 158"/>
                    <a:gd name="T1" fmla="*/ 52 h 91"/>
                    <a:gd name="T2" fmla="*/ 90 w 158"/>
                    <a:gd name="T3" fmla="*/ 87 h 91"/>
                    <a:gd name="T4" fmla="*/ 69 w 158"/>
                    <a:gd name="T5" fmla="*/ 88 h 91"/>
                    <a:gd name="T6" fmla="*/ 6 w 158"/>
                    <a:gd name="T7" fmla="*/ 51 h 91"/>
                    <a:gd name="T8" fmla="*/ 7 w 158"/>
                    <a:gd name="T9" fmla="*/ 39 h 91"/>
                    <a:gd name="T10" fmla="*/ 68 w 158"/>
                    <a:gd name="T11" fmla="*/ 4 h 91"/>
                    <a:gd name="T12" fmla="*/ 89 w 158"/>
                    <a:gd name="T13" fmla="*/ 3 h 91"/>
                    <a:gd name="T14" fmla="*/ 152 w 158"/>
                    <a:gd name="T15" fmla="*/ 40 h 91"/>
                    <a:gd name="T16" fmla="*/ 151 w 158"/>
                    <a:gd name="T17" fmla="*/ 52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8" h="91">
                      <a:moveTo>
                        <a:pt x="151" y="52"/>
                      </a:moveTo>
                      <a:cubicBezTo>
                        <a:pt x="90" y="87"/>
                        <a:pt x="90" y="87"/>
                        <a:pt x="90" y="87"/>
                      </a:cubicBezTo>
                      <a:cubicBezTo>
                        <a:pt x="84" y="91"/>
                        <a:pt x="75" y="91"/>
                        <a:pt x="69" y="88"/>
                      </a:cubicBezTo>
                      <a:cubicBezTo>
                        <a:pt x="6" y="51"/>
                        <a:pt x="6" y="51"/>
                        <a:pt x="6" y="51"/>
                      </a:cubicBezTo>
                      <a:cubicBezTo>
                        <a:pt x="0" y="48"/>
                        <a:pt x="1" y="43"/>
                        <a:pt x="7" y="39"/>
                      </a:cubicBezTo>
                      <a:cubicBezTo>
                        <a:pt x="68" y="4"/>
                        <a:pt x="68" y="4"/>
                        <a:pt x="68" y="4"/>
                      </a:cubicBezTo>
                      <a:cubicBezTo>
                        <a:pt x="74" y="0"/>
                        <a:pt x="83" y="0"/>
                        <a:pt x="89" y="3"/>
                      </a:cubicBezTo>
                      <a:cubicBezTo>
                        <a:pt x="152" y="40"/>
                        <a:pt x="152" y="40"/>
                        <a:pt x="152" y="40"/>
                      </a:cubicBezTo>
                      <a:cubicBezTo>
                        <a:pt x="158" y="43"/>
                        <a:pt x="157" y="48"/>
                        <a:pt x="151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5" name="Freeform 500">
                  <a:extLst>
                    <a:ext uri="{FF2B5EF4-FFF2-40B4-BE49-F238E27FC236}">
                      <a16:creationId xmlns:a16="http://schemas.microsoft.com/office/drawing/2014/main" id="{073BACBB-617D-4D7E-B4F8-61A844C8FF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93273" y="3804461"/>
                  <a:ext cx="1425057" cy="821140"/>
                </a:xfrm>
                <a:custGeom>
                  <a:avLst/>
                  <a:gdLst>
                    <a:gd name="T0" fmla="*/ 1799 w 1806"/>
                    <a:gd name="T1" fmla="*/ 52 h 1043"/>
                    <a:gd name="T2" fmla="*/ 90 w 1806"/>
                    <a:gd name="T3" fmla="*/ 1039 h 1043"/>
                    <a:gd name="T4" fmla="*/ 69 w 1806"/>
                    <a:gd name="T5" fmla="*/ 1040 h 1043"/>
                    <a:gd name="T6" fmla="*/ 5 w 1806"/>
                    <a:gd name="T7" fmla="*/ 1003 h 1043"/>
                    <a:gd name="T8" fmla="*/ 7 w 1806"/>
                    <a:gd name="T9" fmla="*/ 991 h 1043"/>
                    <a:gd name="T10" fmla="*/ 1716 w 1806"/>
                    <a:gd name="T11" fmla="*/ 4 h 1043"/>
                    <a:gd name="T12" fmla="*/ 1737 w 1806"/>
                    <a:gd name="T13" fmla="*/ 3 h 1043"/>
                    <a:gd name="T14" fmla="*/ 1801 w 1806"/>
                    <a:gd name="T15" fmla="*/ 40 h 1043"/>
                    <a:gd name="T16" fmla="*/ 1799 w 1806"/>
                    <a:gd name="T17" fmla="*/ 52 h 10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806" h="1043">
                      <a:moveTo>
                        <a:pt x="1799" y="52"/>
                      </a:moveTo>
                      <a:cubicBezTo>
                        <a:pt x="90" y="1039"/>
                        <a:pt x="90" y="1039"/>
                        <a:pt x="90" y="1039"/>
                      </a:cubicBezTo>
                      <a:cubicBezTo>
                        <a:pt x="84" y="1043"/>
                        <a:pt x="74" y="1043"/>
                        <a:pt x="69" y="1040"/>
                      </a:cubicBezTo>
                      <a:cubicBezTo>
                        <a:pt x="5" y="1003"/>
                        <a:pt x="5" y="1003"/>
                        <a:pt x="5" y="1003"/>
                      </a:cubicBezTo>
                      <a:cubicBezTo>
                        <a:pt x="0" y="1000"/>
                        <a:pt x="1" y="995"/>
                        <a:pt x="7" y="991"/>
                      </a:cubicBezTo>
                      <a:cubicBezTo>
                        <a:pt x="1716" y="4"/>
                        <a:pt x="1716" y="4"/>
                        <a:pt x="1716" y="4"/>
                      </a:cubicBezTo>
                      <a:cubicBezTo>
                        <a:pt x="1723" y="1"/>
                        <a:pt x="1732" y="0"/>
                        <a:pt x="1737" y="3"/>
                      </a:cubicBezTo>
                      <a:cubicBezTo>
                        <a:pt x="1801" y="40"/>
                        <a:pt x="1801" y="40"/>
                        <a:pt x="1801" y="40"/>
                      </a:cubicBezTo>
                      <a:cubicBezTo>
                        <a:pt x="1806" y="43"/>
                        <a:pt x="1806" y="48"/>
                        <a:pt x="1799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6" name="Freeform 501">
                  <a:extLst>
                    <a:ext uri="{FF2B5EF4-FFF2-40B4-BE49-F238E27FC236}">
                      <a16:creationId xmlns:a16="http://schemas.microsoft.com/office/drawing/2014/main" id="{B8FEDCE2-12DB-4D28-98C3-12AD744998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82958" y="3856874"/>
                  <a:ext cx="1426221" cy="821140"/>
                </a:xfrm>
                <a:custGeom>
                  <a:avLst/>
                  <a:gdLst>
                    <a:gd name="T0" fmla="*/ 1800 w 1807"/>
                    <a:gd name="T1" fmla="*/ 52 h 1043"/>
                    <a:gd name="T2" fmla="*/ 90 w 1807"/>
                    <a:gd name="T3" fmla="*/ 1039 h 1043"/>
                    <a:gd name="T4" fmla="*/ 69 w 1807"/>
                    <a:gd name="T5" fmla="*/ 1040 h 1043"/>
                    <a:gd name="T6" fmla="*/ 6 w 1807"/>
                    <a:gd name="T7" fmla="*/ 1003 h 1043"/>
                    <a:gd name="T8" fmla="*/ 7 w 1807"/>
                    <a:gd name="T9" fmla="*/ 991 h 1043"/>
                    <a:gd name="T10" fmla="*/ 1717 w 1807"/>
                    <a:gd name="T11" fmla="*/ 4 h 1043"/>
                    <a:gd name="T12" fmla="*/ 1737 w 1807"/>
                    <a:gd name="T13" fmla="*/ 3 h 1043"/>
                    <a:gd name="T14" fmla="*/ 1801 w 1807"/>
                    <a:gd name="T15" fmla="*/ 40 h 1043"/>
                    <a:gd name="T16" fmla="*/ 1800 w 1807"/>
                    <a:gd name="T17" fmla="*/ 52 h 10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807" h="1043">
                      <a:moveTo>
                        <a:pt x="1800" y="52"/>
                      </a:moveTo>
                      <a:cubicBezTo>
                        <a:pt x="90" y="1039"/>
                        <a:pt x="90" y="1039"/>
                        <a:pt x="90" y="1039"/>
                      </a:cubicBezTo>
                      <a:cubicBezTo>
                        <a:pt x="84" y="1043"/>
                        <a:pt x="75" y="1043"/>
                        <a:pt x="69" y="1040"/>
                      </a:cubicBezTo>
                      <a:cubicBezTo>
                        <a:pt x="6" y="1003"/>
                        <a:pt x="6" y="1003"/>
                        <a:pt x="6" y="1003"/>
                      </a:cubicBezTo>
                      <a:cubicBezTo>
                        <a:pt x="0" y="1000"/>
                        <a:pt x="1" y="995"/>
                        <a:pt x="7" y="991"/>
                      </a:cubicBezTo>
                      <a:cubicBezTo>
                        <a:pt x="1717" y="4"/>
                        <a:pt x="1717" y="4"/>
                        <a:pt x="1717" y="4"/>
                      </a:cubicBezTo>
                      <a:cubicBezTo>
                        <a:pt x="1723" y="0"/>
                        <a:pt x="1732" y="0"/>
                        <a:pt x="1737" y="3"/>
                      </a:cubicBezTo>
                      <a:cubicBezTo>
                        <a:pt x="1801" y="40"/>
                        <a:pt x="1801" y="40"/>
                        <a:pt x="1801" y="40"/>
                      </a:cubicBezTo>
                      <a:cubicBezTo>
                        <a:pt x="1807" y="43"/>
                        <a:pt x="1806" y="48"/>
                        <a:pt x="1800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7" name="Freeform 502">
                  <a:extLst>
                    <a:ext uri="{FF2B5EF4-FFF2-40B4-BE49-F238E27FC236}">
                      <a16:creationId xmlns:a16="http://schemas.microsoft.com/office/drawing/2014/main" id="{6CB3D29E-9841-4C94-B390-16DD7A7507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73225" y="3908705"/>
                  <a:ext cx="1426221" cy="821140"/>
                </a:xfrm>
                <a:custGeom>
                  <a:avLst/>
                  <a:gdLst>
                    <a:gd name="T0" fmla="*/ 1800 w 1807"/>
                    <a:gd name="T1" fmla="*/ 52 h 1043"/>
                    <a:gd name="T2" fmla="*/ 90 w 1807"/>
                    <a:gd name="T3" fmla="*/ 1039 h 1043"/>
                    <a:gd name="T4" fmla="*/ 69 w 1807"/>
                    <a:gd name="T5" fmla="*/ 1040 h 1043"/>
                    <a:gd name="T6" fmla="*/ 6 w 1807"/>
                    <a:gd name="T7" fmla="*/ 1003 h 1043"/>
                    <a:gd name="T8" fmla="*/ 7 w 1807"/>
                    <a:gd name="T9" fmla="*/ 991 h 1043"/>
                    <a:gd name="T10" fmla="*/ 1717 w 1807"/>
                    <a:gd name="T11" fmla="*/ 4 h 1043"/>
                    <a:gd name="T12" fmla="*/ 1738 w 1807"/>
                    <a:gd name="T13" fmla="*/ 3 h 1043"/>
                    <a:gd name="T14" fmla="*/ 1801 w 1807"/>
                    <a:gd name="T15" fmla="*/ 40 h 1043"/>
                    <a:gd name="T16" fmla="*/ 1800 w 1807"/>
                    <a:gd name="T17" fmla="*/ 52 h 10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807" h="1043">
                      <a:moveTo>
                        <a:pt x="1800" y="52"/>
                      </a:moveTo>
                      <a:cubicBezTo>
                        <a:pt x="90" y="1039"/>
                        <a:pt x="90" y="1039"/>
                        <a:pt x="90" y="1039"/>
                      </a:cubicBezTo>
                      <a:cubicBezTo>
                        <a:pt x="84" y="1043"/>
                        <a:pt x="75" y="1043"/>
                        <a:pt x="69" y="1040"/>
                      </a:cubicBezTo>
                      <a:cubicBezTo>
                        <a:pt x="6" y="1003"/>
                        <a:pt x="6" y="1003"/>
                        <a:pt x="6" y="1003"/>
                      </a:cubicBezTo>
                      <a:cubicBezTo>
                        <a:pt x="0" y="1000"/>
                        <a:pt x="1" y="995"/>
                        <a:pt x="7" y="991"/>
                      </a:cubicBezTo>
                      <a:cubicBezTo>
                        <a:pt x="1717" y="4"/>
                        <a:pt x="1717" y="4"/>
                        <a:pt x="1717" y="4"/>
                      </a:cubicBezTo>
                      <a:cubicBezTo>
                        <a:pt x="1723" y="0"/>
                        <a:pt x="1732" y="0"/>
                        <a:pt x="1738" y="3"/>
                      </a:cubicBezTo>
                      <a:cubicBezTo>
                        <a:pt x="1801" y="40"/>
                        <a:pt x="1801" y="40"/>
                        <a:pt x="1801" y="40"/>
                      </a:cubicBezTo>
                      <a:cubicBezTo>
                        <a:pt x="1807" y="43"/>
                        <a:pt x="1806" y="48"/>
                        <a:pt x="1800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8" name="Freeform 503">
                  <a:extLst>
                    <a:ext uri="{FF2B5EF4-FFF2-40B4-BE49-F238E27FC236}">
                      <a16:creationId xmlns:a16="http://schemas.microsoft.com/office/drawing/2014/main" id="{A1F00F64-BD5E-4A5F-BEF6-616CAF4802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64074" y="4070603"/>
                  <a:ext cx="1233457" cy="711073"/>
                </a:xfrm>
                <a:custGeom>
                  <a:avLst/>
                  <a:gdLst>
                    <a:gd name="T0" fmla="*/ 1556 w 1563"/>
                    <a:gd name="T1" fmla="*/ 52 h 903"/>
                    <a:gd name="T2" fmla="*/ 90 w 1563"/>
                    <a:gd name="T3" fmla="*/ 899 h 903"/>
                    <a:gd name="T4" fmla="*/ 69 w 1563"/>
                    <a:gd name="T5" fmla="*/ 900 h 903"/>
                    <a:gd name="T6" fmla="*/ 5 w 1563"/>
                    <a:gd name="T7" fmla="*/ 863 h 903"/>
                    <a:gd name="T8" fmla="*/ 7 w 1563"/>
                    <a:gd name="T9" fmla="*/ 851 h 903"/>
                    <a:gd name="T10" fmla="*/ 1473 w 1563"/>
                    <a:gd name="T11" fmla="*/ 4 h 903"/>
                    <a:gd name="T12" fmla="*/ 1494 w 1563"/>
                    <a:gd name="T13" fmla="*/ 3 h 903"/>
                    <a:gd name="T14" fmla="*/ 1558 w 1563"/>
                    <a:gd name="T15" fmla="*/ 40 h 903"/>
                    <a:gd name="T16" fmla="*/ 1556 w 1563"/>
                    <a:gd name="T17" fmla="*/ 52 h 9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63" h="903">
                      <a:moveTo>
                        <a:pt x="1556" y="52"/>
                      </a:moveTo>
                      <a:cubicBezTo>
                        <a:pt x="90" y="899"/>
                        <a:pt x="90" y="899"/>
                        <a:pt x="90" y="899"/>
                      </a:cubicBezTo>
                      <a:cubicBezTo>
                        <a:pt x="83" y="903"/>
                        <a:pt x="74" y="903"/>
                        <a:pt x="69" y="900"/>
                      </a:cubicBezTo>
                      <a:cubicBezTo>
                        <a:pt x="5" y="863"/>
                        <a:pt x="5" y="863"/>
                        <a:pt x="5" y="863"/>
                      </a:cubicBezTo>
                      <a:cubicBezTo>
                        <a:pt x="0" y="860"/>
                        <a:pt x="0" y="855"/>
                        <a:pt x="7" y="851"/>
                      </a:cubicBezTo>
                      <a:cubicBezTo>
                        <a:pt x="1473" y="4"/>
                        <a:pt x="1473" y="4"/>
                        <a:pt x="1473" y="4"/>
                      </a:cubicBezTo>
                      <a:cubicBezTo>
                        <a:pt x="1479" y="1"/>
                        <a:pt x="1489" y="0"/>
                        <a:pt x="1494" y="3"/>
                      </a:cubicBezTo>
                      <a:cubicBezTo>
                        <a:pt x="1558" y="40"/>
                        <a:pt x="1558" y="40"/>
                        <a:pt x="1558" y="40"/>
                      </a:cubicBezTo>
                      <a:cubicBezTo>
                        <a:pt x="1563" y="43"/>
                        <a:pt x="1562" y="49"/>
                        <a:pt x="1556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9" name="Freeform 504">
                  <a:extLst>
                    <a:ext uri="{FF2B5EF4-FFF2-40B4-BE49-F238E27FC236}">
                      <a16:creationId xmlns:a16="http://schemas.microsoft.com/office/drawing/2014/main" id="{02C41051-B4D8-4011-9187-93AF6EB45D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58083" y="4351887"/>
                  <a:ext cx="124627" cy="71632"/>
                </a:xfrm>
                <a:custGeom>
                  <a:avLst/>
                  <a:gdLst>
                    <a:gd name="T0" fmla="*/ 151 w 158"/>
                    <a:gd name="T1" fmla="*/ 52 h 91"/>
                    <a:gd name="T2" fmla="*/ 90 w 158"/>
                    <a:gd name="T3" fmla="*/ 87 h 91"/>
                    <a:gd name="T4" fmla="*/ 69 w 158"/>
                    <a:gd name="T5" fmla="*/ 88 h 91"/>
                    <a:gd name="T6" fmla="*/ 5 w 158"/>
                    <a:gd name="T7" fmla="*/ 51 h 91"/>
                    <a:gd name="T8" fmla="*/ 7 w 158"/>
                    <a:gd name="T9" fmla="*/ 39 h 91"/>
                    <a:gd name="T10" fmla="*/ 68 w 158"/>
                    <a:gd name="T11" fmla="*/ 4 h 91"/>
                    <a:gd name="T12" fmla="*/ 88 w 158"/>
                    <a:gd name="T13" fmla="*/ 3 h 91"/>
                    <a:gd name="T14" fmla="*/ 152 w 158"/>
                    <a:gd name="T15" fmla="*/ 40 h 91"/>
                    <a:gd name="T16" fmla="*/ 151 w 158"/>
                    <a:gd name="T17" fmla="*/ 52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8" h="91">
                      <a:moveTo>
                        <a:pt x="151" y="52"/>
                      </a:moveTo>
                      <a:cubicBezTo>
                        <a:pt x="90" y="87"/>
                        <a:pt x="90" y="87"/>
                        <a:pt x="90" y="87"/>
                      </a:cubicBezTo>
                      <a:cubicBezTo>
                        <a:pt x="84" y="91"/>
                        <a:pt x="74" y="91"/>
                        <a:pt x="69" y="88"/>
                      </a:cubicBezTo>
                      <a:cubicBezTo>
                        <a:pt x="5" y="51"/>
                        <a:pt x="5" y="51"/>
                        <a:pt x="5" y="51"/>
                      </a:cubicBezTo>
                      <a:cubicBezTo>
                        <a:pt x="0" y="48"/>
                        <a:pt x="1" y="43"/>
                        <a:pt x="7" y="39"/>
                      </a:cubicBezTo>
                      <a:cubicBezTo>
                        <a:pt x="68" y="4"/>
                        <a:pt x="68" y="4"/>
                        <a:pt x="68" y="4"/>
                      </a:cubicBezTo>
                      <a:cubicBezTo>
                        <a:pt x="74" y="1"/>
                        <a:pt x="83" y="0"/>
                        <a:pt x="88" y="3"/>
                      </a:cubicBezTo>
                      <a:cubicBezTo>
                        <a:pt x="152" y="40"/>
                        <a:pt x="152" y="40"/>
                        <a:pt x="152" y="40"/>
                      </a:cubicBezTo>
                      <a:cubicBezTo>
                        <a:pt x="158" y="43"/>
                        <a:pt x="157" y="49"/>
                        <a:pt x="151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0" name="Freeform 505">
                  <a:extLst>
                    <a:ext uri="{FF2B5EF4-FFF2-40B4-BE49-F238E27FC236}">
                      <a16:creationId xmlns:a16="http://schemas.microsoft.com/office/drawing/2014/main" id="{17007AB9-2B5D-4837-B311-6C7A9D027B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48350" y="4300639"/>
                  <a:ext cx="123462" cy="71632"/>
                </a:xfrm>
                <a:custGeom>
                  <a:avLst/>
                  <a:gdLst>
                    <a:gd name="T0" fmla="*/ 151 w 157"/>
                    <a:gd name="T1" fmla="*/ 51 h 91"/>
                    <a:gd name="T2" fmla="*/ 90 w 157"/>
                    <a:gd name="T3" fmla="*/ 87 h 91"/>
                    <a:gd name="T4" fmla="*/ 69 w 157"/>
                    <a:gd name="T5" fmla="*/ 87 h 91"/>
                    <a:gd name="T6" fmla="*/ 5 w 157"/>
                    <a:gd name="T7" fmla="*/ 51 h 91"/>
                    <a:gd name="T8" fmla="*/ 7 w 157"/>
                    <a:gd name="T9" fmla="*/ 39 h 91"/>
                    <a:gd name="T10" fmla="*/ 67 w 157"/>
                    <a:gd name="T11" fmla="*/ 4 h 91"/>
                    <a:gd name="T12" fmla="*/ 88 w 157"/>
                    <a:gd name="T13" fmla="*/ 3 h 91"/>
                    <a:gd name="T14" fmla="*/ 152 w 157"/>
                    <a:gd name="T15" fmla="*/ 39 h 91"/>
                    <a:gd name="T16" fmla="*/ 151 w 157"/>
                    <a:gd name="T17" fmla="*/ 51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7" h="91">
                      <a:moveTo>
                        <a:pt x="151" y="51"/>
                      </a:moveTo>
                      <a:cubicBezTo>
                        <a:pt x="90" y="87"/>
                        <a:pt x="90" y="87"/>
                        <a:pt x="90" y="87"/>
                      </a:cubicBezTo>
                      <a:cubicBezTo>
                        <a:pt x="84" y="90"/>
                        <a:pt x="74" y="91"/>
                        <a:pt x="69" y="87"/>
                      </a:cubicBezTo>
                      <a:cubicBezTo>
                        <a:pt x="5" y="51"/>
                        <a:pt x="5" y="51"/>
                        <a:pt x="5" y="51"/>
                      </a:cubicBezTo>
                      <a:cubicBezTo>
                        <a:pt x="0" y="48"/>
                        <a:pt x="1" y="42"/>
                        <a:pt x="7" y="39"/>
                      </a:cubicBezTo>
                      <a:cubicBezTo>
                        <a:pt x="67" y="4"/>
                        <a:pt x="67" y="4"/>
                        <a:pt x="67" y="4"/>
                      </a:cubicBezTo>
                      <a:cubicBezTo>
                        <a:pt x="74" y="0"/>
                        <a:pt x="83" y="0"/>
                        <a:pt x="88" y="3"/>
                      </a:cubicBezTo>
                      <a:cubicBezTo>
                        <a:pt x="152" y="39"/>
                        <a:pt x="152" y="39"/>
                        <a:pt x="152" y="39"/>
                      </a:cubicBezTo>
                      <a:cubicBezTo>
                        <a:pt x="157" y="43"/>
                        <a:pt x="157" y="48"/>
                        <a:pt x="151" y="5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1" name="Freeform 506">
                  <a:extLst>
                    <a:ext uri="{FF2B5EF4-FFF2-40B4-BE49-F238E27FC236}">
                      <a16:creationId xmlns:a16="http://schemas.microsoft.com/office/drawing/2014/main" id="{12871BE0-D461-4542-BBF3-5498643637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38035" y="4248808"/>
                  <a:ext cx="124045" cy="71632"/>
                </a:xfrm>
                <a:custGeom>
                  <a:avLst/>
                  <a:gdLst>
                    <a:gd name="T0" fmla="*/ 150 w 157"/>
                    <a:gd name="T1" fmla="*/ 52 h 91"/>
                    <a:gd name="T2" fmla="*/ 90 w 157"/>
                    <a:gd name="T3" fmla="*/ 87 h 91"/>
                    <a:gd name="T4" fmla="*/ 69 w 157"/>
                    <a:gd name="T5" fmla="*/ 88 h 91"/>
                    <a:gd name="T6" fmla="*/ 5 w 157"/>
                    <a:gd name="T7" fmla="*/ 51 h 91"/>
                    <a:gd name="T8" fmla="*/ 7 w 157"/>
                    <a:gd name="T9" fmla="*/ 39 h 91"/>
                    <a:gd name="T10" fmla="*/ 67 w 157"/>
                    <a:gd name="T11" fmla="*/ 4 h 91"/>
                    <a:gd name="T12" fmla="*/ 88 w 157"/>
                    <a:gd name="T13" fmla="*/ 3 h 91"/>
                    <a:gd name="T14" fmla="*/ 152 w 157"/>
                    <a:gd name="T15" fmla="*/ 40 h 91"/>
                    <a:gd name="T16" fmla="*/ 150 w 157"/>
                    <a:gd name="T17" fmla="*/ 52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7" h="91">
                      <a:moveTo>
                        <a:pt x="150" y="52"/>
                      </a:moveTo>
                      <a:cubicBezTo>
                        <a:pt x="90" y="87"/>
                        <a:pt x="90" y="87"/>
                        <a:pt x="90" y="87"/>
                      </a:cubicBezTo>
                      <a:cubicBezTo>
                        <a:pt x="83" y="90"/>
                        <a:pt x="74" y="91"/>
                        <a:pt x="69" y="88"/>
                      </a:cubicBezTo>
                      <a:cubicBezTo>
                        <a:pt x="5" y="51"/>
                        <a:pt x="5" y="51"/>
                        <a:pt x="5" y="51"/>
                      </a:cubicBezTo>
                      <a:cubicBezTo>
                        <a:pt x="0" y="48"/>
                        <a:pt x="0" y="42"/>
                        <a:pt x="7" y="39"/>
                      </a:cubicBezTo>
                      <a:cubicBezTo>
                        <a:pt x="67" y="4"/>
                        <a:pt x="67" y="4"/>
                        <a:pt x="67" y="4"/>
                      </a:cubicBezTo>
                      <a:cubicBezTo>
                        <a:pt x="73" y="0"/>
                        <a:pt x="83" y="0"/>
                        <a:pt x="88" y="3"/>
                      </a:cubicBezTo>
                      <a:cubicBezTo>
                        <a:pt x="152" y="40"/>
                        <a:pt x="152" y="40"/>
                        <a:pt x="152" y="40"/>
                      </a:cubicBezTo>
                      <a:cubicBezTo>
                        <a:pt x="157" y="43"/>
                        <a:pt x="157" y="48"/>
                        <a:pt x="150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2" name="Freeform 507">
                  <a:extLst>
                    <a:ext uri="{FF2B5EF4-FFF2-40B4-BE49-F238E27FC236}">
                      <a16:creationId xmlns:a16="http://schemas.microsoft.com/office/drawing/2014/main" id="{326D210F-B649-464D-87E5-92204122F5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44776" y="4128840"/>
                  <a:ext cx="124045" cy="71632"/>
                </a:xfrm>
                <a:custGeom>
                  <a:avLst/>
                  <a:gdLst>
                    <a:gd name="T0" fmla="*/ 151 w 157"/>
                    <a:gd name="T1" fmla="*/ 52 h 91"/>
                    <a:gd name="T2" fmla="*/ 90 w 157"/>
                    <a:gd name="T3" fmla="*/ 87 h 91"/>
                    <a:gd name="T4" fmla="*/ 69 w 157"/>
                    <a:gd name="T5" fmla="*/ 88 h 91"/>
                    <a:gd name="T6" fmla="*/ 5 w 157"/>
                    <a:gd name="T7" fmla="*/ 52 h 91"/>
                    <a:gd name="T8" fmla="*/ 7 w 157"/>
                    <a:gd name="T9" fmla="*/ 39 h 91"/>
                    <a:gd name="T10" fmla="*/ 67 w 157"/>
                    <a:gd name="T11" fmla="*/ 4 h 91"/>
                    <a:gd name="T12" fmla="*/ 88 w 157"/>
                    <a:gd name="T13" fmla="*/ 4 h 91"/>
                    <a:gd name="T14" fmla="*/ 152 w 157"/>
                    <a:gd name="T15" fmla="*/ 40 h 91"/>
                    <a:gd name="T16" fmla="*/ 151 w 157"/>
                    <a:gd name="T17" fmla="*/ 52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7" h="91">
                      <a:moveTo>
                        <a:pt x="151" y="52"/>
                      </a:moveTo>
                      <a:cubicBezTo>
                        <a:pt x="90" y="87"/>
                        <a:pt x="90" y="87"/>
                        <a:pt x="90" y="87"/>
                      </a:cubicBezTo>
                      <a:cubicBezTo>
                        <a:pt x="84" y="91"/>
                        <a:pt x="74" y="91"/>
                        <a:pt x="69" y="88"/>
                      </a:cubicBezTo>
                      <a:cubicBezTo>
                        <a:pt x="5" y="52"/>
                        <a:pt x="5" y="52"/>
                        <a:pt x="5" y="52"/>
                      </a:cubicBezTo>
                      <a:cubicBezTo>
                        <a:pt x="0" y="48"/>
                        <a:pt x="1" y="43"/>
                        <a:pt x="7" y="39"/>
                      </a:cubicBezTo>
                      <a:cubicBezTo>
                        <a:pt x="67" y="4"/>
                        <a:pt x="67" y="4"/>
                        <a:pt x="67" y="4"/>
                      </a:cubicBezTo>
                      <a:cubicBezTo>
                        <a:pt x="74" y="1"/>
                        <a:pt x="83" y="0"/>
                        <a:pt x="88" y="4"/>
                      </a:cubicBezTo>
                      <a:cubicBezTo>
                        <a:pt x="152" y="40"/>
                        <a:pt x="152" y="40"/>
                        <a:pt x="152" y="40"/>
                      </a:cubicBezTo>
                      <a:cubicBezTo>
                        <a:pt x="157" y="43"/>
                        <a:pt x="157" y="49"/>
                        <a:pt x="151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3" name="Freeform 508">
                  <a:extLst>
                    <a:ext uri="{FF2B5EF4-FFF2-40B4-BE49-F238E27FC236}">
                      <a16:creationId xmlns:a16="http://schemas.microsoft.com/office/drawing/2014/main" id="{EB977582-E115-4BC3-936A-D0CFE238B0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35043" y="4078174"/>
                  <a:ext cx="123462" cy="71632"/>
                </a:xfrm>
                <a:custGeom>
                  <a:avLst/>
                  <a:gdLst>
                    <a:gd name="T0" fmla="*/ 150 w 157"/>
                    <a:gd name="T1" fmla="*/ 52 h 91"/>
                    <a:gd name="T2" fmla="*/ 90 w 157"/>
                    <a:gd name="T3" fmla="*/ 87 h 91"/>
                    <a:gd name="T4" fmla="*/ 69 w 157"/>
                    <a:gd name="T5" fmla="*/ 88 h 91"/>
                    <a:gd name="T6" fmla="*/ 5 w 157"/>
                    <a:gd name="T7" fmla="*/ 51 h 91"/>
                    <a:gd name="T8" fmla="*/ 7 w 157"/>
                    <a:gd name="T9" fmla="*/ 39 h 91"/>
                    <a:gd name="T10" fmla="*/ 67 w 157"/>
                    <a:gd name="T11" fmla="*/ 4 h 91"/>
                    <a:gd name="T12" fmla="*/ 88 w 157"/>
                    <a:gd name="T13" fmla="*/ 3 h 91"/>
                    <a:gd name="T14" fmla="*/ 152 w 157"/>
                    <a:gd name="T15" fmla="*/ 40 h 91"/>
                    <a:gd name="T16" fmla="*/ 150 w 157"/>
                    <a:gd name="T17" fmla="*/ 52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7" h="91">
                      <a:moveTo>
                        <a:pt x="150" y="52"/>
                      </a:moveTo>
                      <a:cubicBezTo>
                        <a:pt x="90" y="87"/>
                        <a:pt x="90" y="87"/>
                        <a:pt x="90" y="87"/>
                      </a:cubicBezTo>
                      <a:cubicBezTo>
                        <a:pt x="84" y="90"/>
                        <a:pt x="74" y="91"/>
                        <a:pt x="69" y="88"/>
                      </a:cubicBezTo>
                      <a:cubicBezTo>
                        <a:pt x="5" y="51"/>
                        <a:pt x="5" y="51"/>
                        <a:pt x="5" y="51"/>
                      </a:cubicBezTo>
                      <a:cubicBezTo>
                        <a:pt x="0" y="48"/>
                        <a:pt x="0" y="42"/>
                        <a:pt x="7" y="39"/>
                      </a:cubicBezTo>
                      <a:cubicBezTo>
                        <a:pt x="67" y="4"/>
                        <a:pt x="67" y="4"/>
                        <a:pt x="67" y="4"/>
                      </a:cubicBezTo>
                      <a:cubicBezTo>
                        <a:pt x="73" y="0"/>
                        <a:pt x="83" y="0"/>
                        <a:pt x="88" y="3"/>
                      </a:cubicBezTo>
                      <a:cubicBezTo>
                        <a:pt x="152" y="40"/>
                        <a:pt x="152" y="40"/>
                        <a:pt x="152" y="40"/>
                      </a:cubicBezTo>
                      <a:cubicBezTo>
                        <a:pt x="157" y="43"/>
                        <a:pt x="157" y="48"/>
                        <a:pt x="150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4" name="Freeform 509">
                  <a:extLst>
                    <a:ext uri="{FF2B5EF4-FFF2-40B4-BE49-F238E27FC236}">
                      <a16:creationId xmlns:a16="http://schemas.microsoft.com/office/drawing/2014/main" id="{A73E3F58-5D1A-44E7-8C32-34EA212754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24728" y="4025761"/>
                  <a:ext cx="124045" cy="71632"/>
                </a:xfrm>
                <a:custGeom>
                  <a:avLst/>
                  <a:gdLst>
                    <a:gd name="T0" fmla="*/ 150 w 157"/>
                    <a:gd name="T1" fmla="*/ 52 h 91"/>
                    <a:gd name="T2" fmla="*/ 90 w 157"/>
                    <a:gd name="T3" fmla="*/ 87 h 91"/>
                    <a:gd name="T4" fmla="*/ 69 w 157"/>
                    <a:gd name="T5" fmla="*/ 88 h 91"/>
                    <a:gd name="T6" fmla="*/ 5 w 157"/>
                    <a:gd name="T7" fmla="*/ 51 h 91"/>
                    <a:gd name="T8" fmla="*/ 6 w 157"/>
                    <a:gd name="T9" fmla="*/ 39 h 91"/>
                    <a:gd name="T10" fmla="*/ 67 w 157"/>
                    <a:gd name="T11" fmla="*/ 4 h 91"/>
                    <a:gd name="T12" fmla="*/ 88 w 157"/>
                    <a:gd name="T13" fmla="*/ 3 h 91"/>
                    <a:gd name="T14" fmla="*/ 152 w 157"/>
                    <a:gd name="T15" fmla="*/ 40 h 91"/>
                    <a:gd name="T16" fmla="*/ 150 w 157"/>
                    <a:gd name="T17" fmla="*/ 52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7" h="91">
                      <a:moveTo>
                        <a:pt x="150" y="52"/>
                      </a:moveTo>
                      <a:cubicBezTo>
                        <a:pt x="90" y="87"/>
                        <a:pt x="90" y="87"/>
                        <a:pt x="90" y="87"/>
                      </a:cubicBezTo>
                      <a:cubicBezTo>
                        <a:pt x="83" y="91"/>
                        <a:pt x="74" y="91"/>
                        <a:pt x="69" y="88"/>
                      </a:cubicBezTo>
                      <a:cubicBezTo>
                        <a:pt x="5" y="51"/>
                        <a:pt x="5" y="51"/>
                        <a:pt x="5" y="51"/>
                      </a:cubicBezTo>
                      <a:cubicBezTo>
                        <a:pt x="0" y="48"/>
                        <a:pt x="0" y="43"/>
                        <a:pt x="6" y="39"/>
                      </a:cubicBezTo>
                      <a:cubicBezTo>
                        <a:pt x="67" y="4"/>
                        <a:pt x="67" y="4"/>
                        <a:pt x="67" y="4"/>
                      </a:cubicBezTo>
                      <a:cubicBezTo>
                        <a:pt x="73" y="0"/>
                        <a:pt x="83" y="0"/>
                        <a:pt x="88" y="3"/>
                      </a:cubicBezTo>
                      <a:cubicBezTo>
                        <a:pt x="152" y="40"/>
                        <a:pt x="152" y="40"/>
                        <a:pt x="152" y="40"/>
                      </a:cubicBezTo>
                      <a:cubicBezTo>
                        <a:pt x="157" y="43"/>
                        <a:pt x="156" y="48"/>
                        <a:pt x="150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5" name="Freeform 510">
                  <a:extLst>
                    <a:ext uri="{FF2B5EF4-FFF2-40B4-BE49-F238E27FC236}">
                      <a16:creationId xmlns:a16="http://schemas.microsoft.com/office/drawing/2014/main" id="{EB012EED-D9DE-46E6-B8E2-2A87E19891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13830" y="3973930"/>
                  <a:ext cx="124627" cy="71632"/>
                </a:xfrm>
                <a:custGeom>
                  <a:avLst/>
                  <a:gdLst>
                    <a:gd name="T0" fmla="*/ 151 w 158"/>
                    <a:gd name="T1" fmla="*/ 52 h 91"/>
                    <a:gd name="T2" fmla="*/ 90 w 158"/>
                    <a:gd name="T3" fmla="*/ 87 h 91"/>
                    <a:gd name="T4" fmla="*/ 70 w 158"/>
                    <a:gd name="T5" fmla="*/ 88 h 91"/>
                    <a:gd name="T6" fmla="*/ 6 w 158"/>
                    <a:gd name="T7" fmla="*/ 51 h 91"/>
                    <a:gd name="T8" fmla="*/ 7 w 158"/>
                    <a:gd name="T9" fmla="*/ 39 h 91"/>
                    <a:gd name="T10" fmla="*/ 68 w 158"/>
                    <a:gd name="T11" fmla="*/ 4 h 91"/>
                    <a:gd name="T12" fmla="*/ 89 w 158"/>
                    <a:gd name="T13" fmla="*/ 3 h 91"/>
                    <a:gd name="T14" fmla="*/ 153 w 158"/>
                    <a:gd name="T15" fmla="*/ 40 h 91"/>
                    <a:gd name="T16" fmla="*/ 151 w 158"/>
                    <a:gd name="T17" fmla="*/ 52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8" h="91">
                      <a:moveTo>
                        <a:pt x="151" y="52"/>
                      </a:moveTo>
                      <a:cubicBezTo>
                        <a:pt x="90" y="87"/>
                        <a:pt x="90" y="87"/>
                        <a:pt x="90" y="87"/>
                      </a:cubicBezTo>
                      <a:cubicBezTo>
                        <a:pt x="84" y="91"/>
                        <a:pt x="75" y="91"/>
                        <a:pt x="70" y="88"/>
                      </a:cubicBezTo>
                      <a:cubicBezTo>
                        <a:pt x="6" y="51"/>
                        <a:pt x="6" y="51"/>
                        <a:pt x="6" y="51"/>
                      </a:cubicBezTo>
                      <a:cubicBezTo>
                        <a:pt x="0" y="48"/>
                        <a:pt x="1" y="43"/>
                        <a:pt x="7" y="39"/>
                      </a:cubicBezTo>
                      <a:cubicBezTo>
                        <a:pt x="68" y="4"/>
                        <a:pt x="68" y="4"/>
                        <a:pt x="68" y="4"/>
                      </a:cubicBezTo>
                      <a:cubicBezTo>
                        <a:pt x="74" y="1"/>
                        <a:pt x="84" y="0"/>
                        <a:pt x="89" y="3"/>
                      </a:cubicBezTo>
                      <a:cubicBezTo>
                        <a:pt x="153" y="40"/>
                        <a:pt x="153" y="40"/>
                        <a:pt x="153" y="40"/>
                      </a:cubicBezTo>
                      <a:cubicBezTo>
                        <a:pt x="158" y="43"/>
                        <a:pt x="157" y="49"/>
                        <a:pt x="151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6" name="Freeform 511">
                  <a:extLst>
                    <a:ext uri="{FF2B5EF4-FFF2-40B4-BE49-F238E27FC236}">
                      <a16:creationId xmlns:a16="http://schemas.microsoft.com/office/drawing/2014/main" id="{A4EE1D34-7573-41EE-A579-B4D66F8744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21736" y="3855127"/>
                  <a:ext cx="124045" cy="71632"/>
                </a:xfrm>
                <a:custGeom>
                  <a:avLst/>
                  <a:gdLst>
                    <a:gd name="T0" fmla="*/ 150 w 157"/>
                    <a:gd name="T1" fmla="*/ 52 h 91"/>
                    <a:gd name="T2" fmla="*/ 90 w 157"/>
                    <a:gd name="T3" fmla="*/ 87 h 91"/>
                    <a:gd name="T4" fmla="*/ 69 w 157"/>
                    <a:gd name="T5" fmla="*/ 88 h 91"/>
                    <a:gd name="T6" fmla="*/ 5 w 157"/>
                    <a:gd name="T7" fmla="*/ 51 h 91"/>
                    <a:gd name="T8" fmla="*/ 7 w 157"/>
                    <a:gd name="T9" fmla="*/ 39 h 91"/>
                    <a:gd name="T10" fmla="*/ 67 w 157"/>
                    <a:gd name="T11" fmla="*/ 4 h 91"/>
                    <a:gd name="T12" fmla="*/ 88 w 157"/>
                    <a:gd name="T13" fmla="*/ 3 h 91"/>
                    <a:gd name="T14" fmla="*/ 152 w 157"/>
                    <a:gd name="T15" fmla="*/ 40 h 91"/>
                    <a:gd name="T16" fmla="*/ 150 w 157"/>
                    <a:gd name="T17" fmla="*/ 52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7" h="91">
                      <a:moveTo>
                        <a:pt x="150" y="52"/>
                      </a:moveTo>
                      <a:cubicBezTo>
                        <a:pt x="90" y="87"/>
                        <a:pt x="90" y="87"/>
                        <a:pt x="90" y="87"/>
                      </a:cubicBezTo>
                      <a:cubicBezTo>
                        <a:pt x="83" y="90"/>
                        <a:pt x="74" y="91"/>
                        <a:pt x="69" y="88"/>
                      </a:cubicBezTo>
                      <a:cubicBezTo>
                        <a:pt x="5" y="51"/>
                        <a:pt x="5" y="51"/>
                        <a:pt x="5" y="51"/>
                      </a:cubicBezTo>
                      <a:cubicBezTo>
                        <a:pt x="0" y="48"/>
                        <a:pt x="0" y="42"/>
                        <a:pt x="7" y="39"/>
                      </a:cubicBezTo>
                      <a:cubicBezTo>
                        <a:pt x="67" y="4"/>
                        <a:pt x="67" y="4"/>
                        <a:pt x="67" y="4"/>
                      </a:cubicBezTo>
                      <a:cubicBezTo>
                        <a:pt x="73" y="0"/>
                        <a:pt x="83" y="0"/>
                        <a:pt x="88" y="3"/>
                      </a:cubicBezTo>
                      <a:cubicBezTo>
                        <a:pt x="152" y="40"/>
                        <a:pt x="152" y="40"/>
                        <a:pt x="152" y="40"/>
                      </a:cubicBezTo>
                      <a:cubicBezTo>
                        <a:pt x="157" y="43"/>
                        <a:pt x="157" y="48"/>
                        <a:pt x="150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7" name="Freeform 512">
                  <a:extLst>
                    <a:ext uri="{FF2B5EF4-FFF2-40B4-BE49-F238E27FC236}">
                      <a16:creationId xmlns:a16="http://schemas.microsoft.com/office/drawing/2014/main" id="{52C6F103-5430-4B9E-BA1F-0750F7F614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62174" y="3958788"/>
                  <a:ext cx="124045" cy="71632"/>
                </a:xfrm>
                <a:custGeom>
                  <a:avLst/>
                  <a:gdLst>
                    <a:gd name="T0" fmla="*/ 151 w 157"/>
                    <a:gd name="T1" fmla="*/ 52 h 91"/>
                    <a:gd name="T2" fmla="*/ 90 w 157"/>
                    <a:gd name="T3" fmla="*/ 87 h 91"/>
                    <a:gd name="T4" fmla="*/ 69 w 157"/>
                    <a:gd name="T5" fmla="*/ 88 h 91"/>
                    <a:gd name="T6" fmla="*/ 5 w 157"/>
                    <a:gd name="T7" fmla="*/ 51 h 91"/>
                    <a:gd name="T8" fmla="*/ 7 w 157"/>
                    <a:gd name="T9" fmla="*/ 39 h 91"/>
                    <a:gd name="T10" fmla="*/ 67 w 157"/>
                    <a:gd name="T11" fmla="*/ 4 h 91"/>
                    <a:gd name="T12" fmla="*/ 88 w 157"/>
                    <a:gd name="T13" fmla="*/ 3 h 91"/>
                    <a:gd name="T14" fmla="*/ 152 w 157"/>
                    <a:gd name="T15" fmla="*/ 40 h 91"/>
                    <a:gd name="T16" fmla="*/ 151 w 157"/>
                    <a:gd name="T17" fmla="*/ 52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7" h="91">
                      <a:moveTo>
                        <a:pt x="151" y="52"/>
                      </a:moveTo>
                      <a:cubicBezTo>
                        <a:pt x="90" y="87"/>
                        <a:pt x="90" y="87"/>
                        <a:pt x="90" y="87"/>
                      </a:cubicBezTo>
                      <a:cubicBezTo>
                        <a:pt x="84" y="90"/>
                        <a:pt x="74" y="91"/>
                        <a:pt x="69" y="88"/>
                      </a:cubicBezTo>
                      <a:cubicBezTo>
                        <a:pt x="5" y="51"/>
                        <a:pt x="5" y="51"/>
                        <a:pt x="5" y="51"/>
                      </a:cubicBezTo>
                      <a:cubicBezTo>
                        <a:pt x="0" y="48"/>
                        <a:pt x="1" y="43"/>
                        <a:pt x="7" y="39"/>
                      </a:cubicBezTo>
                      <a:cubicBezTo>
                        <a:pt x="67" y="4"/>
                        <a:pt x="67" y="4"/>
                        <a:pt x="67" y="4"/>
                      </a:cubicBezTo>
                      <a:cubicBezTo>
                        <a:pt x="74" y="0"/>
                        <a:pt x="83" y="0"/>
                        <a:pt x="88" y="3"/>
                      </a:cubicBezTo>
                      <a:cubicBezTo>
                        <a:pt x="152" y="40"/>
                        <a:pt x="152" y="40"/>
                        <a:pt x="152" y="40"/>
                      </a:cubicBezTo>
                      <a:cubicBezTo>
                        <a:pt x="157" y="43"/>
                        <a:pt x="157" y="48"/>
                        <a:pt x="151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8" name="Freeform 513">
                  <a:extLst>
                    <a:ext uri="{FF2B5EF4-FFF2-40B4-BE49-F238E27FC236}">
                      <a16:creationId xmlns:a16="http://schemas.microsoft.com/office/drawing/2014/main" id="{A3D9CB64-0D5D-4198-BD2E-F4C91C1108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11421" y="3803296"/>
                  <a:ext cx="124045" cy="71632"/>
                </a:xfrm>
                <a:custGeom>
                  <a:avLst/>
                  <a:gdLst>
                    <a:gd name="T0" fmla="*/ 150 w 157"/>
                    <a:gd name="T1" fmla="*/ 52 h 91"/>
                    <a:gd name="T2" fmla="*/ 89 w 157"/>
                    <a:gd name="T3" fmla="*/ 87 h 91"/>
                    <a:gd name="T4" fmla="*/ 69 w 157"/>
                    <a:gd name="T5" fmla="*/ 88 h 91"/>
                    <a:gd name="T6" fmla="*/ 5 w 157"/>
                    <a:gd name="T7" fmla="*/ 51 h 91"/>
                    <a:gd name="T8" fmla="*/ 6 w 157"/>
                    <a:gd name="T9" fmla="*/ 39 h 91"/>
                    <a:gd name="T10" fmla="*/ 67 w 157"/>
                    <a:gd name="T11" fmla="*/ 4 h 91"/>
                    <a:gd name="T12" fmla="*/ 88 w 157"/>
                    <a:gd name="T13" fmla="*/ 3 h 91"/>
                    <a:gd name="T14" fmla="*/ 152 w 157"/>
                    <a:gd name="T15" fmla="*/ 40 h 91"/>
                    <a:gd name="T16" fmla="*/ 150 w 157"/>
                    <a:gd name="T17" fmla="*/ 52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7" h="91">
                      <a:moveTo>
                        <a:pt x="150" y="52"/>
                      </a:moveTo>
                      <a:cubicBezTo>
                        <a:pt x="89" y="87"/>
                        <a:pt x="89" y="87"/>
                        <a:pt x="89" y="87"/>
                      </a:cubicBezTo>
                      <a:cubicBezTo>
                        <a:pt x="83" y="91"/>
                        <a:pt x="74" y="91"/>
                        <a:pt x="69" y="88"/>
                      </a:cubicBezTo>
                      <a:cubicBezTo>
                        <a:pt x="5" y="51"/>
                        <a:pt x="5" y="51"/>
                        <a:pt x="5" y="51"/>
                      </a:cubicBezTo>
                      <a:cubicBezTo>
                        <a:pt x="0" y="48"/>
                        <a:pt x="0" y="43"/>
                        <a:pt x="6" y="39"/>
                      </a:cubicBezTo>
                      <a:cubicBezTo>
                        <a:pt x="67" y="4"/>
                        <a:pt x="67" y="4"/>
                        <a:pt x="67" y="4"/>
                      </a:cubicBezTo>
                      <a:cubicBezTo>
                        <a:pt x="73" y="1"/>
                        <a:pt x="83" y="0"/>
                        <a:pt x="88" y="3"/>
                      </a:cubicBezTo>
                      <a:cubicBezTo>
                        <a:pt x="152" y="40"/>
                        <a:pt x="152" y="40"/>
                        <a:pt x="152" y="40"/>
                      </a:cubicBezTo>
                      <a:cubicBezTo>
                        <a:pt x="157" y="43"/>
                        <a:pt x="156" y="49"/>
                        <a:pt x="150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9" name="Freeform 514">
                  <a:extLst>
                    <a:ext uri="{FF2B5EF4-FFF2-40B4-BE49-F238E27FC236}">
                      <a16:creationId xmlns:a16="http://schemas.microsoft.com/office/drawing/2014/main" id="{893FDA42-91C8-4470-9C7B-64D6B72378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00523" y="3751465"/>
                  <a:ext cx="124627" cy="71632"/>
                </a:xfrm>
                <a:custGeom>
                  <a:avLst/>
                  <a:gdLst>
                    <a:gd name="T0" fmla="*/ 151 w 158"/>
                    <a:gd name="T1" fmla="*/ 52 h 91"/>
                    <a:gd name="T2" fmla="*/ 90 w 158"/>
                    <a:gd name="T3" fmla="*/ 87 h 91"/>
                    <a:gd name="T4" fmla="*/ 69 w 158"/>
                    <a:gd name="T5" fmla="*/ 88 h 91"/>
                    <a:gd name="T6" fmla="*/ 6 w 158"/>
                    <a:gd name="T7" fmla="*/ 51 h 91"/>
                    <a:gd name="T8" fmla="*/ 7 w 158"/>
                    <a:gd name="T9" fmla="*/ 39 h 91"/>
                    <a:gd name="T10" fmla="*/ 68 w 158"/>
                    <a:gd name="T11" fmla="*/ 4 h 91"/>
                    <a:gd name="T12" fmla="*/ 89 w 158"/>
                    <a:gd name="T13" fmla="*/ 4 h 91"/>
                    <a:gd name="T14" fmla="*/ 153 w 158"/>
                    <a:gd name="T15" fmla="*/ 40 h 91"/>
                    <a:gd name="T16" fmla="*/ 151 w 158"/>
                    <a:gd name="T17" fmla="*/ 52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8" h="91">
                      <a:moveTo>
                        <a:pt x="151" y="52"/>
                      </a:moveTo>
                      <a:cubicBezTo>
                        <a:pt x="90" y="87"/>
                        <a:pt x="90" y="87"/>
                        <a:pt x="90" y="87"/>
                      </a:cubicBezTo>
                      <a:cubicBezTo>
                        <a:pt x="84" y="91"/>
                        <a:pt x="75" y="91"/>
                        <a:pt x="69" y="88"/>
                      </a:cubicBezTo>
                      <a:cubicBezTo>
                        <a:pt x="6" y="51"/>
                        <a:pt x="6" y="51"/>
                        <a:pt x="6" y="51"/>
                      </a:cubicBezTo>
                      <a:cubicBezTo>
                        <a:pt x="0" y="48"/>
                        <a:pt x="1" y="43"/>
                        <a:pt x="7" y="39"/>
                      </a:cubicBezTo>
                      <a:cubicBezTo>
                        <a:pt x="68" y="4"/>
                        <a:pt x="68" y="4"/>
                        <a:pt x="68" y="4"/>
                      </a:cubicBezTo>
                      <a:cubicBezTo>
                        <a:pt x="74" y="1"/>
                        <a:pt x="83" y="0"/>
                        <a:pt x="89" y="4"/>
                      </a:cubicBezTo>
                      <a:cubicBezTo>
                        <a:pt x="153" y="40"/>
                        <a:pt x="153" y="40"/>
                        <a:pt x="153" y="40"/>
                      </a:cubicBezTo>
                      <a:cubicBezTo>
                        <a:pt x="158" y="43"/>
                        <a:pt x="157" y="49"/>
                        <a:pt x="151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25CC9F4D-0FBC-4D3D-A07A-88376A052931}"/>
                  </a:ext>
                </a:extLst>
              </p:cNvPr>
              <p:cNvGrpSpPr/>
              <p:nvPr/>
            </p:nvGrpSpPr>
            <p:grpSpPr>
              <a:xfrm>
                <a:off x="3371291" y="2812014"/>
                <a:ext cx="979909" cy="1181568"/>
                <a:chOff x="3805335" y="2866847"/>
                <a:chExt cx="764068" cy="921308"/>
              </a:xfrm>
            </p:grpSpPr>
            <p:sp>
              <p:nvSpPr>
                <p:cNvPr id="34" name="Freeform 515">
                  <a:extLst>
                    <a:ext uri="{FF2B5EF4-FFF2-40B4-BE49-F238E27FC236}">
                      <a16:creationId xmlns:a16="http://schemas.microsoft.com/office/drawing/2014/main" id="{155C4910-2152-42BA-99B5-E73B1F01CD0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805335" y="2866847"/>
                  <a:ext cx="720973" cy="531120"/>
                </a:xfrm>
                <a:custGeom>
                  <a:avLst/>
                  <a:gdLst>
                    <a:gd name="T0" fmla="*/ 32 w 913"/>
                    <a:gd name="T1" fmla="*/ 674 h 674"/>
                    <a:gd name="T2" fmla="*/ 26 w 913"/>
                    <a:gd name="T3" fmla="*/ 673 h 674"/>
                    <a:gd name="T4" fmla="*/ 17 w 913"/>
                    <a:gd name="T5" fmla="*/ 658 h 674"/>
                    <a:gd name="T6" fmla="*/ 1 w 913"/>
                    <a:gd name="T7" fmla="*/ 529 h 674"/>
                    <a:gd name="T8" fmla="*/ 16 w 913"/>
                    <a:gd name="T9" fmla="*/ 497 h 674"/>
                    <a:gd name="T10" fmla="*/ 872 w 913"/>
                    <a:gd name="T11" fmla="*/ 3 h 674"/>
                    <a:gd name="T12" fmla="*/ 886 w 913"/>
                    <a:gd name="T13" fmla="*/ 2 h 674"/>
                    <a:gd name="T14" fmla="*/ 895 w 913"/>
                    <a:gd name="T15" fmla="*/ 17 h 674"/>
                    <a:gd name="T16" fmla="*/ 911 w 913"/>
                    <a:gd name="T17" fmla="*/ 146 h 674"/>
                    <a:gd name="T18" fmla="*/ 896 w 913"/>
                    <a:gd name="T19" fmla="*/ 178 h 674"/>
                    <a:gd name="T20" fmla="*/ 41 w 913"/>
                    <a:gd name="T21" fmla="*/ 672 h 674"/>
                    <a:gd name="T22" fmla="*/ 32 w 913"/>
                    <a:gd name="T23" fmla="*/ 674 h 674"/>
                    <a:gd name="T24" fmla="*/ 880 w 913"/>
                    <a:gd name="T25" fmla="*/ 9 h 674"/>
                    <a:gd name="T26" fmla="*/ 876 w 913"/>
                    <a:gd name="T27" fmla="*/ 11 h 674"/>
                    <a:gd name="T28" fmla="*/ 21 w 913"/>
                    <a:gd name="T29" fmla="*/ 504 h 674"/>
                    <a:gd name="T30" fmla="*/ 10 w 913"/>
                    <a:gd name="T31" fmla="*/ 528 h 674"/>
                    <a:gd name="T32" fmla="*/ 25 w 913"/>
                    <a:gd name="T33" fmla="*/ 657 h 674"/>
                    <a:gd name="T34" fmla="*/ 30 w 913"/>
                    <a:gd name="T35" fmla="*/ 665 h 674"/>
                    <a:gd name="T36" fmla="*/ 37 w 913"/>
                    <a:gd name="T37" fmla="*/ 664 h 674"/>
                    <a:gd name="T38" fmla="*/ 892 w 913"/>
                    <a:gd name="T39" fmla="*/ 171 h 674"/>
                    <a:gd name="T40" fmla="*/ 903 w 913"/>
                    <a:gd name="T41" fmla="*/ 147 h 674"/>
                    <a:gd name="T42" fmla="*/ 887 w 913"/>
                    <a:gd name="T43" fmla="*/ 18 h 674"/>
                    <a:gd name="T44" fmla="*/ 883 w 913"/>
                    <a:gd name="T45" fmla="*/ 10 h 674"/>
                    <a:gd name="T46" fmla="*/ 880 w 913"/>
                    <a:gd name="T47" fmla="*/ 9 h 6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913" h="674">
                      <a:moveTo>
                        <a:pt x="32" y="674"/>
                      </a:moveTo>
                      <a:cubicBezTo>
                        <a:pt x="30" y="674"/>
                        <a:pt x="28" y="674"/>
                        <a:pt x="26" y="673"/>
                      </a:cubicBezTo>
                      <a:cubicBezTo>
                        <a:pt x="21" y="670"/>
                        <a:pt x="18" y="665"/>
                        <a:pt x="17" y="658"/>
                      </a:cubicBezTo>
                      <a:cubicBezTo>
                        <a:pt x="1" y="529"/>
                        <a:pt x="1" y="529"/>
                        <a:pt x="1" y="529"/>
                      </a:cubicBezTo>
                      <a:cubicBezTo>
                        <a:pt x="0" y="517"/>
                        <a:pt x="7" y="503"/>
                        <a:pt x="16" y="497"/>
                      </a:cubicBezTo>
                      <a:cubicBezTo>
                        <a:pt x="872" y="3"/>
                        <a:pt x="872" y="3"/>
                        <a:pt x="872" y="3"/>
                      </a:cubicBezTo>
                      <a:cubicBezTo>
                        <a:pt x="877" y="0"/>
                        <a:pt x="882" y="0"/>
                        <a:pt x="886" y="2"/>
                      </a:cubicBezTo>
                      <a:cubicBezTo>
                        <a:pt x="891" y="5"/>
                        <a:pt x="895" y="10"/>
                        <a:pt x="895" y="17"/>
                      </a:cubicBezTo>
                      <a:cubicBezTo>
                        <a:pt x="911" y="146"/>
                        <a:pt x="911" y="146"/>
                        <a:pt x="911" y="146"/>
                      </a:cubicBezTo>
                      <a:cubicBezTo>
                        <a:pt x="913" y="158"/>
                        <a:pt x="906" y="172"/>
                        <a:pt x="896" y="178"/>
                      </a:cubicBezTo>
                      <a:cubicBezTo>
                        <a:pt x="41" y="672"/>
                        <a:pt x="41" y="672"/>
                        <a:pt x="41" y="672"/>
                      </a:cubicBezTo>
                      <a:cubicBezTo>
                        <a:pt x="38" y="673"/>
                        <a:pt x="35" y="674"/>
                        <a:pt x="32" y="674"/>
                      </a:cubicBezTo>
                      <a:close/>
                      <a:moveTo>
                        <a:pt x="880" y="9"/>
                      </a:moveTo>
                      <a:cubicBezTo>
                        <a:pt x="879" y="9"/>
                        <a:pt x="877" y="10"/>
                        <a:pt x="876" y="11"/>
                      </a:cubicBezTo>
                      <a:cubicBezTo>
                        <a:pt x="21" y="504"/>
                        <a:pt x="21" y="504"/>
                        <a:pt x="21" y="504"/>
                      </a:cubicBezTo>
                      <a:cubicBezTo>
                        <a:pt x="14" y="508"/>
                        <a:pt x="9" y="519"/>
                        <a:pt x="10" y="528"/>
                      </a:cubicBezTo>
                      <a:cubicBezTo>
                        <a:pt x="25" y="657"/>
                        <a:pt x="25" y="657"/>
                        <a:pt x="25" y="657"/>
                      </a:cubicBezTo>
                      <a:cubicBezTo>
                        <a:pt x="26" y="661"/>
                        <a:pt x="27" y="664"/>
                        <a:pt x="30" y="665"/>
                      </a:cubicBezTo>
                      <a:cubicBezTo>
                        <a:pt x="32" y="666"/>
                        <a:pt x="35" y="666"/>
                        <a:pt x="37" y="664"/>
                      </a:cubicBezTo>
                      <a:cubicBezTo>
                        <a:pt x="892" y="171"/>
                        <a:pt x="892" y="171"/>
                        <a:pt x="892" y="171"/>
                      </a:cubicBezTo>
                      <a:cubicBezTo>
                        <a:pt x="899" y="167"/>
                        <a:pt x="904" y="156"/>
                        <a:pt x="903" y="147"/>
                      </a:cubicBezTo>
                      <a:cubicBezTo>
                        <a:pt x="887" y="18"/>
                        <a:pt x="887" y="18"/>
                        <a:pt x="887" y="18"/>
                      </a:cubicBezTo>
                      <a:cubicBezTo>
                        <a:pt x="887" y="14"/>
                        <a:pt x="885" y="11"/>
                        <a:pt x="883" y="10"/>
                      </a:cubicBezTo>
                      <a:cubicBezTo>
                        <a:pt x="882" y="9"/>
                        <a:pt x="881" y="9"/>
                        <a:pt x="880" y="9"/>
                      </a:cubicBezTo>
                      <a:close/>
                    </a:path>
                  </a:pathLst>
                </a:custGeom>
                <a:solidFill>
                  <a:srgbClr val="9C319F">
                    <a:lumMod val="60000"/>
                    <a:lumOff val="4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5" name="Freeform 516">
                  <a:extLst>
                    <a:ext uri="{FF2B5EF4-FFF2-40B4-BE49-F238E27FC236}">
                      <a16:creationId xmlns:a16="http://schemas.microsoft.com/office/drawing/2014/main" id="{3502658E-4323-4321-90D4-0902CEBA44A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829212" y="3063105"/>
                  <a:ext cx="720390" cy="530538"/>
                </a:xfrm>
                <a:custGeom>
                  <a:avLst/>
                  <a:gdLst>
                    <a:gd name="T0" fmla="*/ 32 w 913"/>
                    <a:gd name="T1" fmla="*/ 674 h 674"/>
                    <a:gd name="T2" fmla="*/ 26 w 913"/>
                    <a:gd name="T3" fmla="*/ 672 h 674"/>
                    <a:gd name="T4" fmla="*/ 17 w 913"/>
                    <a:gd name="T5" fmla="*/ 658 h 674"/>
                    <a:gd name="T6" fmla="*/ 2 w 913"/>
                    <a:gd name="T7" fmla="*/ 529 h 674"/>
                    <a:gd name="T8" fmla="*/ 17 w 913"/>
                    <a:gd name="T9" fmla="*/ 497 h 674"/>
                    <a:gd name="T10" fmla="*/ 872 w 913"/>
                    <a:gd name="T11" fmla="*/ 3 h 674"/>
                    <a:gd name="T12" fmla="*/ 887 w 913"/>
                    <a:gd name="T13" fmla="*/ 2 h 674"/>
                    <a:gd name="T14" fmla="*/ 896 w 913"/>
                    <a:gd name="T15" fmla="*/ 16 h 674"/>
                    <a:gd name="T16" fmla="*/ 911 w 913"/>
                    <a:gd name="T17" fmla="*/ 145 h 674"/>
                    <a:gd name="T18" fmla="*/ 896 w 913"/>
                    <a:gd name="T19" fmla="*/ 178 h 674"/>
                    <a:gd name="T20" fmla="*/ 41 w 913"/>
                    <a:gd name="T21" fmla="*/ 671 h 674"/>
                    <a:gd name="T22" fmla="*/ 32 w 913"/>
                    <a:gd name="T23" fmla="*/ 674 h 674"/>
                    <a:gd name="T24" fmla="*/ 880 w 913"/>
                    <a:gd name="T25" fmla="*/ 9 h 674"/>
                    <a:gd name="T26" fmla="*/ 876 w 913"/>
                    <a:gd name="T27" fmla="*/ 10 h 674"/>
                    <a:gd name="T28" fmla="*/ 21 w 913"/>
                    <a:gd name="T29" fmla="*/ 504 h 674"/>
                    <a:gd name="T30" fmla="*/ 10 w 913"/>
                    <a:gd name="T31" fmla="*/ 528 h 674"/>
                    <a:gd name="T32" fmla="*/ 25 w 913"/>
                    <a:gd name="T33" fmla="*/ 657 h 674"/>
                    <a:gd name="T34" fmla="*/ 30 w 913"/>
                    <a:gd name="T35" fmla="*/ 665 h 674"/>
                    <a:gd name="T36" fmla="*/ 37 w 913"/>
                    <a:gd name="T37" fmla="*/ 664 h 674"/>
                    <a:gd name="T38" fmla="*/ 892 w 913"/>
                    <a:gd name="T39" fmla="*/ 170 h 674"/>
                    <a:gd name="T40" fmla="*/ 903 w 913"/>
                    <a:gd name="T41" fmla="*/ 146 h 674"/>
                    <a:gd name="T42" fmla="*/ 887 w 913"/>
                    <a:gd name="T43" fmla="*/ 17 h 674"/>
                    <a:gd name="T44" fmla="*/ 883 w 913"/>
                    <a:gd name="T45" fmla="*/ 9 h 674"/>
                    <a:gd name="T46" fmla="*/ 880 w 913"/>
                    <a:gd name="T47" fmla="*/ 9 h 6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913" h="674">
                      <a:moveTo>
                        <a:pt x="32" y="674"/>
                      </a:moveTo>
                      <a:cubicBezTo>
                        <a:pt x="30" y="674"/>
                        <a:pt x="28" y="673"/>
                        <a:pt x="26" y="672"/>
                      </a:cubicBezTo>
                      <a:cubicBezTo>
                        <a:pt x="21" y="670"/>
                        <a:pt x="18" y="665"/>
                        <a:pt x="17" y="658"/>
                      </a:cubicBezTo>
                      <a:cubicBezTo>
                        <a:pt x="2" y="529"/>
                        <a:pt x="2" y="529"/>
                        <a:pt x="2" y="529"/>
                      </a:cubicBezTo>
                      <a:cubicBezTo>
                        <a:pt x="0" y="516"/>
                        <a:pt x="7" y="502"/>
                        <a:pt x="17" y="497"/>
                      </a:cubicBezTo>
                      <a:cubicBezTo>
                        <a:pt x="872" y="3"/>
                        <a:pt x="872" y="3"/>
                        <a:pt x="872" y="3"/>
                      </a:cubicBezTo>
                      <a:cubicBezTo>
                        <a:pt x="877" y="0"/>
                        <a:pt x="882" y="0"/>
                        <a:pt x="887" y="2"/>
                      </a:cubicBezTo>
                      <a:cubicBezTo>
                        <a:pt x="891" y="4"/>
                        <a:pt x="895" y="10"/>
                        <a:pt x="896" y="16"/>
                      </a:cubicBezTo>
                      <a:cubicBezTo>
                        <a:pt x="911" y="145"/>
                        <a:pt x="911" y="145"/>
                        <a:pt x="911" y="145"/>
                      </a:cubicBezTo>
                      <a:cubicBezTo>
                        <a:pt x="913" y="158"/>
                        <a:pt x="906" y="172"/>
                        <a:pt x="896" y="178"/>
                      </a:cubicBezTo>
                      <a:cubicBezTo>
                        <a:pt x="41" y="671"/>
                        <a:pt x="41" y="671"/>
                        <a:pt x="41" y="671"/>
                      </a:cubicBezTo>
                      <a:cubicBezTo>
                        <a:pt x="38" y="673"/>
                        <a:pt x="35" y="674"/>
                        <a:pt x="32" y="674"/>
                      </a:cubicBezTo>
                      <a:close/>
                      <a:moveTo>
                        <a:pt x="880" y="9"/>
                      </a:moveTo>
                      <a:cubicBezTo>
                        <a:pt x="879" y="9"/>
                        <a:pt x="877" y="9"/>
                        <a:pt x="876" y="10"/>
                      </a:cubicBezTo>
                      <a:cubicBezTo>
                        <a:pt x="21" y="504"/>
                        <a:pt x="21" y="504"/>
                        <a:pt x="21" y="504"/>
                      </a:cubicBezTo>
                      <a:cubicBezTo>
                        <a:pt x="14" y="508"/>
                        <a:pt x="9" y="519"/>
                        <a:pt x="10" y="528"/>
                      </a:cubicBezTo>
                      <a:cubicBezTo>
                        <a:pt x="25" y="657"/>
                        <a:pt x="25" y="657"/>
                        <a:pt x="25" y="657"/>
                      </a:cubicBezTo>
                      <a:cubicBezTo>
                        <a:pt x="26" y="661"/>
                        <a:pt x="28" y="664"/>
                        <a:pt x="30" y="665"/>
                      </a:cubicBezTo>
                      <a:cubicBezTo>
                        <a:pt x="32" y="666"/>
                        <a:pt x="35" y="665"/>
                        <a:pt x="37" y="664"/>
                      </a:cubicBezTo>
                      <a:cubicBezTo>
                        <a:pt x="892" y="170"/>
                        <a:pt x="892" y="170"/>
                        <a:pt x="892" y="170"/>
                      </a:cubicBezTo>
                      <a:cubicBezTo>
                        <a:pt x="899" y="166"/>
                        <a:pt x="904" y="155"/>
                        <a:pt x="903" y="146"/>
                      </a:cubicBezTo>
                      <a:cubicBezTo>
                        <a:pt x="887" y="17"/>
                        <a:pt x="887" y="17"/>
                        <a:pt x="887" y="17"/>
                      </a:cubicBezTo>
                      <a:cubicBezTo>
                        <a:pt x="887" y="13"/>
                        <a:pt x="885" y="11"/>
                        <a:pt x="883" y="9"/>
                      </a:cubicBezTo>
                      <a:cubicBezTo>
                        <a:pt x="882" y="9"/>
                        <a:pt x="881" y="9"/>
                        <a:pt x="880" y="9"/>
                      </a:cubicBezTo>
                      <a:close/>
                    </a:path>
                  </a:pathLst>
                </a:custGeom>
                <a:solidFill>
                  <a:srgbClr val="9C319F">
                    <a:lumMod val="60000"/>
                    <a:lumOff val="4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6" name="Freeform 517">
                  <a:extLst>
                    <a:ext uri="{FF2B5EF4-FFF2-40B4-BE49-F238E27FC236}">
                      <a16:creationId xmlns:a16="http://schemas.microsoft.com/office/drawing/2014/main" id="{985E7192-A0AA-4658-BBC5-08E5E8EDC7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57166" y="3259946"/>
                  <a:ext cx="712237" cy="528209"/>
                </a:xfrm>
                <a:custGeom>
                  <a:avLst/>
                  <a:gdLst>
                    <a:gd name="T0" fmla="*/ 889 w 903"/>
                    <a:gd name="T1" fmla="*/ 173 h 671"/>
                    <a:gd name="T2" fmla="*/ 34 w 903"/>
                    <a:gd name="T3" fmla="*/ 666 h 671"/>
                    <a:gd name="T4" fmla="*/ 16 w 903"/>
                    <a:gd name="T5" fmla="*/ 656 h 671"/>
                    <a:gd name="T6" fmla="*/ 1 w 903"/>
                    <a:gd name="T7" fmla="*/ 527 h 671"/>
                    <a:gd name="T8" fmla="*/ 14 w 903"/>
                    <a:gd name="T9" fmla="*/ 499 h 671"/>
                    <a:gd name="T10" fmla="*/ 869 w 903"/>
                    <a:gd name="T11" fmla="*/ 5 h 671"/>
                    <a:gd name="T12" fmla="*/ 887 w 903"/>
                    <a:gd name="T13" fmla="*/ 16 h 671"/>
                    <a:gd name="T14" fmla="*/ 902 w 903"/>
                    <a:gd name="T15" fmla="*/ 145 h 671"/>
                    <a:gd name="T16" fmla="*/ 889 w 903"/>
                    <a:gd name="T17" fmla="*/ 173 h 6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03" h="671">
                      <a:moveTo>
                        <a:pt x="889" y="173"/>
                      </a:moveTo>
                      <a:cubicBezTo>
                        <a:pt x="34" y="666"/>
                        <a:pt x="34" y="666"/>
                        <a:pt x="34" y="666"/>
                      </a:cubicBezTo>
                      <a:cubicBezTo>
                        <a:pt x="26" y="671"/>
                        <a:pt x="18" y="667"/>
                        <a:pt x="16" y="656"/>
                      </a:cubicBezTo>
                      <a:cubicBezTo>
                        <a:pt x="1" y="527"/>
                        <a:pt x="1" y="527"/>
                        <a:pt x="1" y="527"/>
                      </a:cubicBezTo>
                      <a:cubicBezTo>
                        <a:pt x="0" y="516"/>
                        <a:pt x="5" y="504"/>
                        <a:pt x="14" y="499"/>
                      </a:cubicBezTo>
                      <a:cubicBezTo>
                        <a:pt x="869" y="5"/>
                        <a:pt x="869" y="5"/>
                        <a:pt x="869" y="5"/>
                      </a:cubicBezTo>
                      <a:cubicBezTo>
                        <a:pt x="877" y="0"/>
                        <a:pt x="885" y="5"/>
                        <a:pt x="887" y="16"/>
                      </a:cubicBezTo>
                      <a:cubicBezTo>
                        <a:pt x="902" y="145"/>
                        <a:pt x="902" y="145"/>
                        <a:pt x="902" y="145"/>
                      </a:cubicBezTo>
                      <a:cubicBezTo>
                        <a:pt x="903" y="155"/>
                        <a:pt x="898" y="168"/>
                        <a:pt x="889" y="173"/>
                      </a:cubicBezTo>
                      <a:close/>
                    </a:path>
                  </a:pathLst>
                </a:custGeom>
                <a:solidFill>
                  <a:srgbClr val="9C319F">
                    <a:lumMod val="60000"/>
                    <a:lumOff val="4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7" name="Freeform 518">
                  <a:extLst>
                    <a:ext uri="{FF2B5EF4-FFF2-40B4-BE49-F238E27FC236}">
                      <a16:creationId xmlns:a16="http://schemas.microsoft.com/office/drawing/2014/main" id="{A8171C79-56EB-490E-8A5D-994CCA7B6B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82790" y="3477169"/>
                  <a:ext cx="34360" cy="42513"/>
                </a:xfrm>
                <a:custGeom>
                  <a:avLst/>
                  <a:gdLst>
                    <a:gd name="T0" fmla="*/ 41 w 43"/>
                    <a:gd name="T1" fmla="*/ 16 h 54"/>
                    <a:gd name="T2" fmla="*/ 25 w 43"/>
                    <a:gd name="T3" fmla="*/ 48 h 54"/>
                    <a:gd name="T4" fmla="*/ 2 w 43"/>
                    <a:gd name="T5" fmla="*/ 38 h 54"/>
                    <a:gd name="T6" fmla="*/ 18 w 43"/>
                    <a:gd name="T7" fmla="*/ 6 h 54"/>
                    <a:gd name="T8" fmla="*/ 41 w 43"/>
                    <a:gd name="T9" fmla="*/ 16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" h="54">
                      <a:moveTo>
                        <a:pt x="41" y="16"/>
                      </a:moveTo>
                      <a:cubicBezTo>
                        <a:pt x="43" y="27"/>
                        <a:pt x="36" y="42"/>
                        <a:pt x="25" y="48"/>
                      </a:cubicBezTo>
                      <a:cubicBezTo>
                        <a:pt x="15" y="54"/>
                        <a:pt x="4" y="50"/>
                        <a:pt x="2" y="38"/>
                      </a:cubicBezTo>
                      <a:cubicBezTo>
                        <a:pt x="0" y="27"/>
                        <a:pt x="7" y="13"/>
                        <a:pt x="18" y="6"/>
                      </a:cubicBezTo>
                      <a:cubicBezTo>
                        <a:pt x="28" y="0"/>
                        <a:pt x="39" y="4"/>
                        <a:pt x="41" y="16"/>
                      </a:cubicBezTo>
                      <a:close/>
                    </a:path>
                  </a:pathLst>
                </a:custGeom>
                <a:solidFill>
                  <a:srgbClr val="9C319F">
                    <a:lumMod val="60000"/>
                    <a:lumOff val="4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8" name="Freeform 519">
                  <a:extLst>
                    <a:ext uri="{FF2B5EF4-FFF2-40B4-BE49-F238E27FC236}">
                      <a16:creationId xmlns:a16="http://schemas.microsoft.com/office/drawing/2014/main" id="{EB626ACB-256F-42C8-979D-1518B036F9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33456" y="3448051"/>
                  <a:ext cx="33777" cy="42513"/>
                </a:xfrm>
                <a:custGeom>
                  <a:avLst/>
                  <a:gdLst>
                    <a:gd name="T0" fmla="*/ 41 w 43"/>
                    <a:gd name="T1" fmla="*/ 16 h 54"/>
                    <a:gd name="T2" fmla="*/ 26 w 43"/>
                    <a:gd name="T3" fmla="*/ 48 h 54"/>
                    <a:gd name="T4" fmla="*/ 2 w 43"/>
                    <a:gd name="T5" fmla="*/ 38 h 54"/>
                    <a:gd name="T6" fmla="*/ 18 w 43"/>
                    <a:gd name="T7" fmla="*/ 6 h 54"/>
                    <a:gd name="T8" fmla="*/ 41 w 43"/>
                    <a:gd name="T9" fmla="*/ 16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" h="54">
                      <a:moveTo>
                        <a:pt x="41" y="16"/>
                      </a:moveTo>
                      <a:cubicBezTo>
                        <a:pt x="43" y="27"/>
                        <a:pt x="37" y="41"/>
                        <a:pt x="26" y="48"/>
                      </a:cubicBezTo>
                      <a:cubicBezTo>
                        <a:pt x="15" y="54"/>
                        <a:pt x="5" y="50"/>
                        <a:pt x="2" y="38"/>
                      </a:cubicBezTo>
                      <a:cubicBezTo>
                        <a:pt x="0" y="27"/>
                        <a:pt x="7" y="12"/>
                        <a:pt x="18" y="6"/>
                      </a:cubicBezTo>
                      <a:cubicBezTo>
                        <a:pt x="29" y="0"/>
                        <a:pt x="39" y="4"/>
                        <a:pt x="41" y="16"/>
                      </a:cubicBezTo>
                      <a:close/>
                    </a:path>
                  </a:pathLst>
                </a:custGeom>
                <a:solidFill>
                  <a:srgbClr val="9C319F">
                    <a:lumMod val="60000"/>
                    <a:lumOff val="4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9" name="Freeform 520">
                  <a:extLst>
                    <a:ext uri="{FF2B5EF4-FFF2-40B4-BE49-F238E27FC236}">
                      <a16:creationId xmlns:a16="http://schemas.microsoft.com/office/drawing/2014/main" id="{1C68545E-9903-4B82-A59B-2F9BD1F839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84704" y="3418933"/>
                  <a:ext cx="33777" cy="42513"/>
                </a:xfrm>
                <a:custGeom>
                  <a:avLst/>
                  <a:gdLst>
                    <a:gd name="T0" fmla="*/ 41 w 43"/>
                    <a:gd name="T1" fmla="*/ 16 h 54"/>
                    <a:gd name="T2" fmla="*/ 25 w 43"/>
                    <a:gd name="T3" fmla="*/ 47 h 54"/>
                    <a:gd name="T4" fmla="*/ 2 w 43"/>
                    <a:gd name="T5" fmla="*/ 38 h 54"/>
                    <a:gd name="T6" fmla="*/ 17 w 43"/>
                    <a:gd name="T7" fmla="*/ 6 h 54"/>
                    <a:gd name="T8" fmla="*/ 41 w 43"/>
                    <a:gd name="T9" fmla="*/ 16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" h="54">
                      <a:moveTo>
                        <a:pt x="41" y="16"/>
                      </a:moveTo>
                      <a:cubicBezTo>
                        <a:pt x="43" y="27"/>
                        <a:pt x="36" y="41"/>
                        <a:pt x="25" y="47"/>
                      </a:cubicBezTo>
                      <a:cubicBezTo>
                        <a:pt x="14" y="54"/>
                        <a:pt x="4" y="49"/>
                        <a:pt x="2" y="38"/>
                      </a:cubicBezTo>
                      <a:cubicBezTo>
                        <a:pt x="0" y="27"/>
                        <a:pt x="7" y="12"/>
                        <a:pt x="17" y="6"/>
                      </a:cubicBezTo>
                      <a:cubicBezTo>
                        <a:pt x="28" y="0"/>
                        <a:pt x="39" y="4"/>
                        <a:pt x="41" y="16"/>
                      </a:cubicBezTo>
                      <a:close/>
                    </a:path>
                  </a:pathLst>
                </a:custGeom>
                <a:solidFill>
                  <a:srgbClr val="9C319F">
                    <a:lumMod val="60000"/>
                    <a:lumOff val="4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0" name="Freeform 521">
                  <a:extLst>
                    <a:ext uri="{FF2B5EF4-FFF2-40B4-BE49-F238E27FC236}">
                      <a16:creationId xmlns:a16="http://schemas.microsoft.com/office/drawing/2014/main" id="{5D443B81-1538-411A-817D-03491EC0EF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35371" y="3389814"/>
                  <a:ext cx="33777" cy="42513"/>
                </a:xfrm>
                <a:custGeom>
                  <a:avLst/>
                  <a:gdLst>
                    <a:gd name="T0" fmla="*/ 41 w 43"/>
                    <a:gd name="T1" fmla="*/ 15 h 54"/>
                    <a:gd name="T2" fmla="*/ 26 w 43"/>
                    <a:gd name="T3" fmla="*/ 47 h 54"/>
                    <a:gd name="T4" fmla="*/ 2 w 43"/>
                    <a:gd name="T5" fmla="*/ 38 h 54"/>
                    <a:gd name="T6" fmla="*/ 18 w 43"/>
                    <a:gd name="T7" fmla="*/ 6 h 54"/>
                    <a:gd name="T8" fmla="*/ 41 w 43"/>
                    <a:gd name="T9" fmla="*/ 15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" h="54">
                      <a:moveTo>
                        <a:pt x="41" y="15"/>
                      </a:moveTo>
                      <a:cubicBezTo>
                        <a:pt x="43" y="27"/>
                        <a:pt x="36" y="41"/>
                        <a:pt x="26" y="47"/>
                      </a:cubicBezTo>
                      <a:cubicBezTo>
                        <a:pt x="15" y="54"/>
                        <a:pt x="4" y="49"/>
                        <a:pt x="2" y="38"/>
                      </a:cubicBezTo>
                      <a:cubicBezTo>
                        <a:pt x="0" y="26"/>
                        <a:pt x="7" y="12"/>
                        <a:pt x="18" y="6"/>
                      </a:cubicBezTo>
                      <a:cubicBezTo>
                        <a:pt x="29" y="0"/>
                        <a:pt x="39" y="4"/>
                        <a:pt x="41" y="15"/>
                      </a:cubicBezTo>
                      <a:close/>
                    </a:path>
                  </a:pathLst>
                </a:custGeom>
                <a:solidFill>
                  <a:srgbClr val="9C319F">
                    <a:lumMod val="60000"/>
                    <a:lumOff val="4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1" name="Freeform 522">
                  <a:extLst>
                    <a:ext uri="{FF2B5EF4-FFF2-40B4-BE49-F238E27FC236}">
                      <a16:creationId xmlns:a16="http://schemas.microsoft.com/office/drawing/2014/main" id="{FDDED643-36F6-4397-BC9B-15F862BA8C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86619" y="3360696"/>
                  <a:ext cx="33777" cy="41931"/>
                </a:xfrm>
                <a:custGeom>
                  <a:avLst/>
                  <a:gdLst>
                    <a:gd name="T0" fmla="*/ 41 w 43"/>
                    <a:gd name="T1" fmla="*/ 15 h 53"/>
                    <a:gd name="T2" fmla="*/ 25 w 43"/>
                    <a:gd name="T3" fmla="*/ 47 h 53"/>
                    <a:gd name="T4" fmla="*/ 2 w 43"/>
                    <a:gd name="T5" fmla="*/ 38 h 53"/>
                    <a:gd name="T6" fmla="*/ 17 w 43"/>
                    <a:gd name="T7" fmla="*/ 6 h 53"/>
                    <a:gd name="T8" fmla="*/ 41 w 43"/>
                    <a:gd name="T9" fmla="*/ 15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" h="53">
                      <a:moveTo>
                        <a:pt x="41" y="15"/>
                      </a:moveTo>
                      <a:cubicBezTo>
                        <a:pt x="43" y="27"/>
                        <a:pt x="36" y="41"/>
                        <a:pt x="25" y="47"/>
                      </a:cubicBezTo>
                      <a:cubicBezTo>
                        <a:pt x="14" y="53"/>
                        <a:pt x="4" y="49"/>
                        <a:pt x="2" y="38"/>
                      </a:cubicBezTo>
                      <a:cubicBezTo>
                        <a:pt x="0" y="26"/>
                        <a:pt x="6" y="12"/>
                        <a:pt x="17" y="6"/>
                      </a:cubicBezTo>
                      <a:cubicBezTo>
                        <a:pt x="28" y="0"/>
                        <a:pt x="38" y="4"/>
                        <a:pt x="41" y="15"/>
                      </a:cubicBezTo>
                      <a:close/>
                    </a:path>
                  </a:pathLst>
                </a:custGeom>
                <a:solidFill>
                  <a:srgbClr val="9C319F">
                    <a:lumMod val="60000"/>
                    <a:lumOff val="4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2" name="Freeform 523">
                  <a:extLst>
                    <a:ext uri="{FF2B5EF4-FFF2-40B4-BE49-F238E27FC236}">
                      <a16:creationId xmlns:a16="http://schemas.microsoft.com/office/drawing/2014/main" id="{B2566E93-5465-4D41-885A-15478E31AF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37285" y="3330995"/>
                  <a:ext cx="33777" cy="42513"/>
                </a:xfrm>
                <a:custGeom>
                  <a:avLst/>
                  <a:gdLst>
                    <a:gd name="T0" fmla="*/ 41 w 43"/>
                    <a:gd name="T1" fmla="*/ 16 h 54"/>
                    <a:gd name="T2" fmla="*/ 25 w 43"/>
                    <a:gd name="T3" fmla="*/ 48 h 54"/>
                    <a:gd name="T4" fmla="*/ 2 w 43"/>
                    <a:gd name="T5" fmla="*/ 38 h 54"/>
                    <a:gd name="T6" fmla="*/ 18 w 43"/>
                    <a:gd name="T7" fmla="*/ 7 h 54"/>
                    <a:gd name="T8" fmla="*/ 41 w 43"/>
                    <a:gd name="T9" fmla="*/ 16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" h="54">
                      <a:moveTo>
                        <a:pt x="41" y="16"/>
                      </a:moveTo>
                      <a:cubicBezTo>
                        <a:pt x="43" y="27"/>
                        <a:pt x="36" y="42"/>
                        <a:pt x="25" y="48"/>
                      </a:cubicBezTo>
                      <a:cubicBezTo>
                        <a:pt x="15" y="54"/>
                        <a:pt x="4" y="50"/>
                        <a:pt x="2" y="38"/>
                      </a:cubicBezTo>
                      <a:cubicBezTo>
                        <a:pt x="0" y="27"/>
                        <a:pt x="7" y="13"/>
                        <a:pt x="18" y="7"/>
                      </a:cubicBezTo>
                      <a:cubicBezTo>
                        <a:pt x="28" y="0"/>
                        <a:pt x="39" y="5"/>
                        <a:pt x="41" y="16"/>
                      </a:cubicBezTo>
                      <a:close/>
                    </a:path>
                  </a:pathLst>
                </a:custGeom>
                <a:solidFill>
                  <a:srgbClr val="9C319F">
                    <a:lumMod val="60000"/>
                    <a:lumOff val="4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3" name="Freeform 524">
                  <a:extLst>
                    <a:ext uri="{FF2B5EF4-FFF2-40B4-BE49-F238E27FC236}">
                      <a16:creationId xmlns:a16="http://schemas.microsoft.com/office/drawing/2014/main" id="{D406FB49-8064-446F-8260-FF2DF212A0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87369" y="3301876"/>
                  <a:ext cx="34360" cy="42513"/>
                </a:xfrm>
                <a:custGeom>
                  <a:avLst/>
                  <a:gdLst>
                    <a:gd name="T0" fmla="*/ 41 w 43"/>
                    <a:gd name="T1" fmla="*/ 16 h 54"/>
                    <a:gd name="T2" fmla="*/ 26 w 43"/>
                    <a:gd name="T3" fmla="*/ 48 h 54"/>
                    <a:gd name="T4" fmla="*/ 2 w 43"/>
                    <a:gd name="T5" fmla="*/ 38 h 54"/>
                    <a:gd name="T6" fmla="*/ 18 w 43"/>
                    <a:gd name="T7" fmla="*/ 6 h 54"/>
                    <a:gd name="T8" fmla="*/ 41 w 43"/>
                    <a:gd name="T9" fmla="*/ 16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" h="54">
                      <a:moveTo>
                        <a:pt x="41" y="16"/>
                      </a:moveTo>
                      <a:cubicBezTo>
                        <a:pt x="43" y="27"/>
                        <a:pt x="36" y="42"/>
                        <a:pt x="26" y="48"/>
                      </a:cubicBezTo>
                      <a:cubicBezTo>
                        <a:pt x="15" y="54"/>
                        <a:pt x="5" y="50"/>
                        <a:pt x="2" y="38"/>
                      </a:cubicBezTo>
                      <a:cubicBezTo>
                        <a:pt x="0" y="27"/>
                        <a:pt x="7" y="13"/>
                        <a:pt x="18" y="6"/>
                      </a:cubicBezTo>
                      <a:cubicBezTo>
                        <a:pt x="29" y="0"/>
                        <a:pt x="39" y="4"/>
                        <a:pt x="41" y="16"/>
                      </a:cubicBezTo>
                      <a:close/>
                    </a:path>
                  </a:pathLst>
                </a:custGeom>
                <a:solidFill>
                  <a:srgbClr val="9C319F">
                    <a:lumMod val="60000"/>
                    <a:lumOff val="4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62527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3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33" name="Freeform 525">
                <a:extLst>
                  <a:ext uri="{FF2B5EF4-FFF2-40B4-BE49-F238E27FC236}">
                    <a16:creationId xmlns:a16="http://schemas.microsoft.com/office/drawing/2014/main" id="{14E6290E-F640-4D3D-B871-0C49C1DAEC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3082" y="1800735"/>
                <a:ext cx="2476659" cy="3181716"/>
              </a:xfrm>
              <a:custGeom>
                <a:avLst/>
                <a:gdLst>
                  <a:gd name="T0" fmla="*/ 209 w 2447"/>
                  <a:gd name="T1" fmla="*/ 3112 h 3151"/>
                  <a:gd name="T2" fmla="*/ 14 w 2447"/>
                  <a:gd name="T3" fmla="*/ 1438 h 3151"/>
                  <a:gd name="T4" fmla="*/ 45 w 2447"/>
                  <a:gd name="T5" fmla="*/ 1375 h 3151"/>
                  <a:gd name="T6" fmla="*/ 2395 w 2447"/>
                  <a:gd name="T7" fmla="*/ 18 h 3151"/>
                  <a:gd name="T8" fmla="*/ 2447 w 2447"/>
                  <a:gd name="T9" fmla="*/ 16 h 3151"/>
                  <a:gd name="T10" fmla="*/ 2384 w 2447"/>
                  <a:gd name="T11" fmla="*/ 12 h 3151"/>
                  <a:gd name="T12" fmla="*/ 35 w 2447"/>
                  <a:gd name="T13" fmla="*/ 1369 h 3151"/>
                  <a:gd name="T14" fmla="*/ 3 w 2447"/>
                  <a:gd name="T15" fmla="*/ 1432 h 3151"/>
                  <a:gd name="T16" fmla="*/ 198 w 2447"/>
                  <a:gd name="T17" fmla="*/ 3106 h 3151"/>
                  <a:gd name="T18" fmla="*/ 231 w 2447"/>
                  <a:gd name="T19" fmla="*/ 3151 h 3151"/>
                  <a:gd name="T20" fmla="*/ 209 w 2447"/>
                  <a:gd name="T21" fmla="*/ 3112 h 3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47" h="3151">
                    <a:moveTo>
                      <a:pt x="209" y="3112"/>
                    </a:moveTo>
                    <a:cubicBezTo>
                      <a:pt x="14" y="1438"/>
                      <a:pt x="14" y="1438"/>
                      <a:pt x="14" y="1438"/>
                    </a:cubicBezTo>
                    <a:cubicBezTo>
                      <a:pt x="10" y="1410"/>
                      <a:pt x="18" y="1394"/>
                      <a:pt x="45" y="1375"/>
                    </a:cubicBezTo>
                    <a:cubicBezTo>
                      <a:pt x="2395" y="18"/>
                      <a:pt x="2395" y="18"/>
                      <a:pt x="2395" y="18"/>
                    </a:cubicBezTo>
                    <a:cubicBezTo>
                      <a:pt x="2412" y="9"/>
                      <a:pt x="2431" y="9"/>
                      <a:pt x="2447" y="16"/>
                    </a:cubicBezTo>
                    <a:cubicBezTo>
                      <a:pt x="2429" y="3"/>
                      <a:pt x="2405" y="0"/>
                      <a:pt x="2384" y="12"/>
                    </a:cubicBezTo>
                    <a:cubicBezTo>
                      <a:pt x="35" y="1369"/>
                      <a:pt x="35" y="1369"/>
                      <a:pt x="35" y="1369"/>
                    </a:cubicBezTo>
                    <a:cubicBezTo>
                      <a:pt x="13" y="1382"/>
                      <a:pt x="0" y="1407"/>
                      <a:pt x="3" y="1432"/>
                    </a:cubicBezTo>
                    <a:cubicBezTo>
                      <a:pt x="198" y="3106"/>
                      <a:pt x="198" y="3106"/>
                      <a:pt x="198" y="3106"/>
                    </a:cubicBezTo>
                    <a:cubicBezTo>
                      <a:pt x="201" y="3127"/>
                      <a:pt x="214" y="3143"/>
                      <a:pt x="231" y="3151"/>
                    </a:cubicBezTo>
                    <a:cubicBezTo>
                      <a:pt x="219" y="3142"/>
                      <a:pt x="211" y="3129"/>
                      <a:pt x="209" y="3112"/>
                    </a:cubicBezTo>
                    <a:close/>
                  </a:path>
                </a:pathLst>
              </a:custGeom>
              <a:gradFill>
                <a:gsLst>
                  <a:gs pos="35000">
                    <a:srgbClr val="9C319F"/>
                  </a:gs>
                  <a:gs pos="100000">
                    <a:srgbClr val="9C319F">
                      <a:lumMod val="20000"/>
                      <a:lumOff val="80000"/>
                    </a:srgbClr>
                  </a:gs>
                </a:gsLst>
                <a:lin ang="1140000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C2079104-C904-42EF-9257-09DAD059C0E4}"/>
                </a:ext>
              </a:extLst>
            </p:cNvPr>
            <p:cNvGrpSpPr/>
            <p:nvPr/>
          </p:nvGrpSpPr>
          <p:grpSpPr>
            <a:xfrm>
              <a:off x="6204725" y="979884"/>
              <a:ext cx="1177550" cy="963072"/>
              <a:chOff x="-8039100" y="-2208213"/>
              <a:chExt cx="11287125" cy="9231313"/>
            </a:xfrm>
          </p:grpSpPr>
          <p:sp>
            <p:nvSpPr>
              <p:cNvPr id="21" name="Freeform 529">
                <a:extLst>
                  <a:ext uri="{FF2B5EF4-FFF2-40B4-BE49-F238E27FC236}">
                    <a16:creationId xmlns:a16="http://schemas.microsoft.com/office/drawing/2014/main" id="{C56B27C3-76D3-4192-8B38-EC73E318EE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607300" y="-2208213"/>
                <a:ext cx="10855325" cy="8896350"/>
              </a:xfrm>
              <a:custGeom>
                <a:avLst/>
                <a:gdLst>
                  <a:gd name="T0" fmla="*/ 0 w 227"/>
                  <a:gd name="T1" fmla="*/ 29 h 186"/>
                  <a:gd name="T2" fmla="*/ 39 w 227"/>
                  <a:gd name="T3" fmla="*/ 6 h 186"/>
                  <a:gd name="T4" fmla="*/ 39 w 227"/>
                  <a:gd name="T5" fmla="*/ 6 h 186"/>
                  <a:gd name="T6" fmla="*/ 61 w 227"/>
                  <a:gd name="T7" fmla="*/ 8 h 186"/>
                  <a:gd name="T8" fmla="*/ 70 w 227"/>
                  <a:gd name="T9" fmla="*/ 15 h 186"/>
                  <a:gd name="T10" fmla="*/ 85 w 227"/>
                  <a:gd name="T11" fmla="*/ 6 h 186"/>
                  <a:gd name="T12" fmla="*/ 85 w 227"/>
                  <a:gd name="T13" fmla="*/ 6 h 186"/>
                  <a:gd name="T14" fmla="*/ 120 w 227"/>
                  <a:gd name="T15" fmla="*/ 8 h 186"/>
                  <a:gd name="T16" fmla="*/ 161 w 227"/>
                  <a:gd name="T17" fmla="*/ 59 h 186"/>
                  <a:gd name="T18" fmla="*/ 169 w 227"/>
                  <a:gd name="T19" fmla="*/ 61 h 186"/>
                  <a:gd name="T20" fmla="*/ 190 w 227"/>
                  <a:gd name="T21" fmla="*/ 97 h 186"/>
                  <a:gd name="T22" fmla="*/ 190 w 227"/>
                  <a:gd name="T23" fmla="*/ 98 h 186"/>
                  <a:gd name="T24" fmla="*/ 200 w 227"/>
                  <a:gd name="T25" fmla="*/ 101 h 186"/>
                  <a:gd name="T26" fmla="*/ 227 w 227"/>
                  <a:gd name="T27" fmla="*/ 147 h 186"/>
                  <a:gd name="T28" fmla="*/ 219 w 227"/>
                  <a:gd name="T29" fmla="*/ 164 h 186"/>
                  <a:gd name="T30" fmla="*/ 219 w 227"/>
                  <a:gd name="T31" fmla="*/ 164 h 186"/>
                  <a:gd name="T32" fmla="*/ 219 w 227"/>
                  <a:gd name="T33" fmla="*/ 164 h 186"/>
                  <a:gd name="T34" fmla="*/ 219 w 227"/>
                  <a:gd name="T35" fmla="*/ 164 h 186"/>
                  <a:gd name="T36" fmla="*/ 181 w 227"/>
                  <a:gd name="T37" fmla="*/ 186 h 186"/>
                  <a:gd name="T38" fmla="*/ 173 w 227"/>
                  <a:gd name="T39" fmla="*/ 146 h 186"/>
                  <a:gd name="T40" fmla="*/ 61 w 227"/>
                  <a:gd name="T41" fmla="*/ 82 h 186"/>
                  <a:gd name="T42" fmla="*/ 31 w 227"/>
                  <a:gd name="T43" fmla="*/ 39 h 186"/>
                  <a:gd name="T44" fmla="*/ 0 w 227"/>
                  <a:gd name="T45" fmla="*/ 29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27" h="186">
                    <a:moveTo>
                      <a:pt x="0" y="29"/>
                    </a:moveTo>
                    <a:cubicBezTo>
                      <a:pt x="39" y="6"/>
                      <a:pt x="39" y="6"/>
                      <a:pt x="39" y="6"/>
                    </a:cubicBezTo>
                    <a:cubicBezTo>
                      <a:pt x="39" y="6"/>
                      <a:pt x="39" y="6"/>
                      <a:pt x="39" y="6"/>
                    </a:cubicBezTo>
                    <a:cubicBezTo>
                      <a:pt x="44" y="3"/>
                      <a:pt x="52" y="3"/>
                      <a:pt x="61" y="8"/>
                    </a:cubicBezTo>
                    <a:cubicBezTo>
                      <a:pt x="64" y="10"/>
                      <a:pt x="67" y="12"/>
                      <a:pt x="70" y="15"/>
                    </a:cubicBezTo>
                    <a:cubicBezTo>
                      <a:pt x="85" y="6"/>
                      <a:pt x="85" y="6"/>
                      <a:pt x="85" y="6"/>
                    </a:cubicBezTo>
                    <a:cubicBezTo>
                      <a:pt x="85" y="6"/>
                      <a:pt x="85" y="6"/>
                      <a:pt x="85" y="6"/>
                    </a:cubicBezTo>
                    <a:cubicBezTo>
                      <a:pt x="94" y="0"/>
                      <a:pt x="106" y="0"/>
                      <a:pt x="120" y="8"/>
                    </a:cubicBezTo>
                    <a:cubicBezTo>
                      <a:pt x="137" y="18"/>
                      <a:pt x="152" y="38"/>
                      <a:pt x="161" y="59"/>
                    </a:cubicBezTo>
                    <a:cubicBezTo>
                      <a:pt x="163" y="59"/>
                      <a:pt x="166" y="60"/>
                      <a:pt x="169" y="61"/>
                    </a:cubicBezTo>
                    <a:cubicBezTo>
                      <a:pt x="181" y="68"/>
                      <a:pt x="190" y="84"/>
                      <a:pt x="190" y="97"/>
                    </a:cubicBezTo>
                    <a:cubicBezTo>
                      <a:pt x="190" y="97"/>
                      <a:pt x="190" y="98"/>
                      <a:pt x="190" y="98"/>
                    </a:cubicBezTo>
                    <a:cubicBezTo>
                      <a:pt x="193" y="98"/>
                      <a:pt x="197" y="99"/>
                      <a:pt x="200" y="101"/>
                    </a:cubicBezTo>
                    <a:cubicBezTo>
                      <a:pt x="215" y="110"/>
                      <a:pt x="227" y="130"/>
                      <a:pt x="227" y="147"/>
                    </a:cubicBezTo>
                    <a:cubicBezTo>
                      <a:pt x="227" y="155"/>
                      <a:pt x="224" y="161"/>
                      <a:pt x="219" y="164"/>
                    </a:cubicBezTo>
                    <a:cubicBezTo>
                      <a:pt x="219" y="164"/>
                      <a:pt x="219" y="164"/>
                      <a:pt x="219" y="164"/>
                    </a:cubicBezTo>
                    <a:cubicBezTo>
                      <a:pt x="219" y="164"/>
                      <a:pt x="219" y="164"/>
                      <a:pt x="219" y="164"/>
                    </a:cubicBezTo>
                    <a:cubicBezTo>
                      <a:pt x="219" y="164"/>
                      <a:pt x="219" y="164"/>
                      <a:pt x="219" y="164"/>
                    </a:cubicBezTo>
                    <a:cubicBezTo>
                      <a:pt x="181" y="186"/>
                      <a:pt x="181" y="186"/>
                      <a:pt x="181" y="186"/>
                    </a:cubicBezTo>
                    <a:cubicBezTo>
                      <a:pt x="173" y="146"/>
                      <a:pt x="173" y="146"/>
                      <a:pt x="173" y="146"/>
                    </a:cubicBezTo>
                    <a:cubicBezTo>
                      <a:pt x="61" y="82"/>
                      <a:pt x="61" y="82"/>
                      <a:pt x="61" y="82"/>
                    </a:cubicBezTo>
                    <a:cubicBezTo>
                      <a:pt x="47" y="74"/>
                      <a:pt x="35" y="56"/>
                      <a:pt x="31" y="39"/>
                    </a:cubicBezTo>
                    <a:lnTo>
                      <a:pt x="0" y="29"/>
                    </a:lnTo>
                    <a:close/>
                  </a:path>
                </a:pathLst>
              </a:custGeom>
              <a:gradFill>
                <a:gsLst>
                  <a:gs pos="0">
                    <a:srgbClr val="9C319F">
                      <a:lumMod val="60000"/>
                      <a:lumOff val="40000"/>
                    </a:srgbClr>
                  </a:gs>
                  <a:gs pos="100000">
                    <a:srgbClr val="9C319F">
                      <a:lumMod val="20000"/>
                      <a:lumOff val="80000"/>
                    </a:srgbClr>
                  </a:gs>
                </a:gsLst>
                <a:lin ang="135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" name="Freeform 530">
                <a:extLst>
                  <a:ext uri="{FF2B5EF4-FFF2-40B4-BE49-F238E27FC236}">
                    <a16:creationId xmlns:a16="http://schemas.microsoft.com/office/drawing/2014/main" id="{C5E1E126-BFC6-4958-8CC7-94F37590DF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039100" y="-1346200"/>
                <a:ext cx="9469438" cy="8369300"/>
              </a:xfrm>
              <a:custGeom>
                <a:avLst/>
                <a:gdLst>
                  <a:gd name="T0" fmla="*/ 32 w 198"/>
                  <a:gd name="T1" fmla="*/ 13 h 175"/>
                  <a:gd name="T2" fmla="*/ 46 w 198"/>
                  <a:gd name="T3" fmla="*/ 24 h 175"/>
                  <a:gd name="T4" fmla="*/ 91 w 198"/>
                  <a:gd name="T5" fmla="*/ 12 h 175"/>
                  <a:gd name="T6" fmla="*/ 131 w 198"/>
                  <a:gd name="T7" fmla="*/ 63 h 175"/>
                  <a:gd name="T8" fmla="*/ 140 w 198"/>
                  <a:gd name="T9" fmla="*/ 66 h 175"/>
                  <a:gd name="T10" fmla="*/ 161 w 198"/>
                  <a:gd name="T11" fmla="*/ 101 h 175"/>
                  <a:gd name="T12" fmla="*/ 161 w 198"/>
                  <a:gd name="T13" fmla="*/ 102 h 175"/>
                  <a:gd name="T14" fmla="*/ 171 w 198"/>
                  <a:gd name="T15" fmla="*/ 106 h 175"/>
                  <a:gd name="T16" fmla="*/ 198 w 198"/>
                  <a:gd name="T17" fmla="*/ 151 h 175"/>
                  <a:gd name="T18" fmla="*/ 171 w 198"/>
                  <a:gd name="T19" fmla="*/ 166 h 175"/>
                  <a:gd name="T20" fmla="*/ 32 w 198"/>
                  <a:gd name="T21" fmla="*/ 86 h 175"/>
                  <a:gd name="T22" fmla="*/ 0 w 198"/>
                  <a:gd name="T23" fmla="*/ 31 h 175"/>
                  <a:gd name="T24" fmla="*/ 32 w 198"/>
                  <a:gd name="T25" fmla="*/ 13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8" h="175">
                    <a:moveTo>
                      <a:pt x="32" y="13"/>
                    </a:moveTo>
                    <a:cubicBezTo>
                      <a:pt x="37" y="16"/>
                      <a:pt x="42" y="20"/>
                      <a:pt x="46" y="24"/>
                    </a:cubicBezTo>
                    <a:cubicBezTo>
                      <a:pt x="52" y="6"/>
                      <a:pt x="70" y="0"/>
                      <a:pt x="91" y="12"/>
                    </a:cubicBezTo>
                    <a:cubicBezTo>
                      <a:pt x="108" y="22"/>
                      <a:pt x="123" y="42"/>
                      <a:pt x="131" y="63"/>
                    </a:cubicBezTo>
                    <a:cubicBezTo>
                      <a:pt x="134" y="63"/>
                      <a:pt x="137" y="64"/>
                      <a:pt x="140" y="66"/>
                    </a:cubicBezTo>
                    <a:cubicBezTo>
                      <a:pt x="151" y="72"/>
                      <a:pt x="161" y="88"/>
                      <a:pt x="161" y="101"/>
                    </a:cubicBezTo>
                    <a:cubicBezTo>
                      <a:pt x="161" y="101"/>
                      <a:pt x="161" y="102"/>
                      <a:pt x="161" y="102"/>
                    </a:cubicBezTo>
                    <a:cubicBezTo>
                      <a:pt x="164" y="102"/>
                      <a:pt x="167" y="103"/>
                      <a:pt x="171" y="106"/>
                    </a:cubicBezTo>
                    <a:cubicBezTo>
                      <a:pt x="186" y="114"/>
                      <a:pt x="198" y="134"/>
                      <a:pt x="198" y="151"/>
                    </a:cubicBezTo>
                    <a:cubicBezTo>
                      <a:pt x="198" y="168"/>
                      <a:pt x="186" y="175"/>
                      <a:pt x="171" y="166"/>
                    </a:cubicBezTo>
                    <a:cubicBezTo>
                      <a:pt x="32" y="86"/>
                      <a:pt x="32" y="86"/>
                      <a:pt x="32" y="86"/>
                    </a:cubicBezTo>
                    <a:cubicBezTo>
                      <a:pt x="14" y="76"/>
                      <a:pt x="0" y="51"/>
                      <a:pt x="0" y="31"/>
                    </a:cubicBezTo>
                    <a:cubicBezTo>
                      <a:pt x="0" y="11"/>
                      <a:pt x="14" y="3"/>
                      <a:pt x="32" y="13"/>
                    </a:cubicBezTo>
                    <a:close/>
                  </a:path>
                </a:pathLst>
              </a:custGeom>
              <a:gradFill>
                <a:gsLst>
                  <a:gs pos="0">
                    <a:srgbClr val="9C319F"/>
                  </a:gs>
                  <a:gs pos="100000">
                    <a:srgbClr val="9C319F">
                      <a:lumMod val="60000"/>
                      <a:lumOff val="40000"/>
                    </a:srgbClr>
                  </a:gs>
                </a:gsLst>
                <a:lin ang="135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62527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5" name="Freeform 582">
              <a:extLst>
                <a:ext uri="{FF2B5EF4-FFF2-40B4-BE49-F238E27FC236}">
                  <a16:creationId xmlns:a16="http://schemas.microsoft.com/office/drawing/2014/main" id="{137675C0-B1A8-419A-9CFE-510F9E0E86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3204" y="1473236"/>
              <a:ext cx="1900238" cy="3117850"/>
            </a:xfrm>
            <a:custGeom>
              <a:avLst/>
              <a:gdLst>
                <a:gd name="T0" fmla="*/ 2 w 504"/>
                <a:gd name="T1" fmla="*/ 830 h 830"/>
                <a:gd name="T2" fmla="*/ 0 w 504"/>
                <a:gd name="T3" fmla="*/ 828 h 830"/>
                <a:gd name="T4" fmla="*/ 0 w 504"/>
                <a:gd name="T5" fmla="*/ 292 h 830"/>
                <a:gd name="T6" fmla="*/ 1 w 504"/>
                <a:gd name="T7" fmla="*/ 290 h 830"/>
                <a:gd name="T8" fmla="*/ 501 w 504"/>
                <a:gd name="T9" fmla="*/ 1 h 830"/>
                <a:gd name="T10" fmla="*/ 503 w 504"/>
                <a:gd name="T11" fmla="*/ 2 h 830"/>
                <a:gd name="T12" fmla="*/ 503 w 504"/>
                <a:gd name="T13" fmla="*/ 4 h 830"/>
                <a:gd name="T14" fmla="*/ 4 w 504"/>
                <a:gd name="T15" fmla="*/ 293 h 830"/>
                <a:gd name="T16" fmla="*/ 4 w 504"/>
                <a:gd name="T17" fmla="*/ 828 h 830"/>
                <a:gd name="T18" fmla="*/ 2 w 504"/>
                <a:gd name="T19" fmla="*/ 830 h 8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4" h="830">
                  <a:moveTo>
                    <a:pt x="2" y="830"/>
                  </a:moveTo>
                  <a:cubicBezTo>
                    <a:pt x="1" y="830"/>
                    <a:pt x="0" y="829"/>
                    <a:pt x="0" y="828"/>
                  </a:cubicBezTo>
                  <a:cubicBezTo>
                    <a:pt x="0" y="292"/>
                    <a:pt x="0" y="292"/>
                    <a:pt x="0" y="292"/>
                  </a:cubicBezTo>
                  <a:cubicBezTo>
                    <a:pt x="0" y="291"/>
                    <a:pt x="0" y="290"/>
                    <a:pt x="1" y="290"/>
                  </a:cubicBezTo>
                  <a:cubicBezTo>
                    <a:pt x="501" y="1"/>
                    <a:pt x="501" y="1"/>
                    <a:pt x="501" y="1"/>
                  </a:cubicBezTo>
                  <a:cubicBezTo>
                    <a:pt x="502" y="0"/>
                    <a:pt x="503" y="1"/>
                    <a:pt x="503" y="2"/>
                  </a:cubicBezTo>
                  <a:cubicBezTo>
                    <a:pt x="504" y="3"/>
                    <a:pt x="504" y="4"/>
                    <a:pt x="503" y="4"/>
                  </a:cubicBezTo>
                  <a:cubicBezTo>
                    <a:pt x="4" y="293"/>
                    <a:pt x="4" y="293"/>
                    <a:pt x="4" y="293"/>
                  </a:cubicBezTo>
                  <a:cubicBezTo>
                    <a:pt x="4" y="828"/>
                    <a:pt x="4" y="828"/>
                    <a:pt x="4" y="828"/>
                  </a:cubicBezTo>
                  <a:cubicBezTo>
                    <a:pt x="4" y="829"/>
                    <a:pt x="3" y="830"/>
                    <a:pt x="2" y="830"/>
                  </a:cubicBezTo>
                  <a:close/>
                </a:path>
              </a:pathLst>
            </a:custGeom>
            <a:solidFill>
              <a:srgbClr val="9C319F">
                <a:lumMod val="60000"/>
                <a:lumOff val="4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6252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3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DEA7FEFF-A7AB-427D-8863-D748770163A2}"/>
                </a:ext>
              </a:extLst>
            </p:cNvPr>
            <p:cNvSpPr/>
            <p:nvPr/>
          </p:nvSpPr>
          <p:spPr>
            <a:xfrm>
              <a:off x="8023265" y="4114584"/>
              <a:ext cx="561612" cy="359749"/>
            </a:xfrm>
            <a:prstGeom prst="ellipse">
              <a:avLst/>
            </a:prstGeom>
            <a:noFill/>
            <a:ln w="38100" cap="flat" cmpd="sng" algn="ctr">
              <a:solidFill>
                <a:sysClr val="window" lastClr="FFFFFF">
                  <a:alpha val="13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6252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3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583">
              <a:extLst>
                <a:ext uri="{FF2B5EF4-FFF2-40B4-BE49-F238E27FC236}">
                  <a16:creationId xmlns:a16="http://schemas.microsoft.com/office/drawing/2014/main" id="{8F611EA1-125F-40B4-9708-C3C6CF378AE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6026" y="1774512"/>
              <a:ext cx="1047750" cy="2498725"/>
            </a:xfrm>
            <a:custGeom>
              <a:avLst/>
              <a:gdLst>
                <a:gd name="T0" fmla="*/ 276 w 278"/>
                <a:gd name="T1" fmla="*/ 665 h 665"/>
                <a:gd name="T2" fmla="*/ 274 w 278"/>
                <a:gd name="T3" fmla="*/ 663 h 665"/>
                <a:gd name="T4" fmla="*/ 274 w 278"/>
                <a:gd name="T5" fmla="*/ 162 h 665"/>
                <a:gd name="T6" fmla="*/ 1 w 278"/>
                <a:gd name="T7" fmla="*/ 4 h 665"/>
                <a:gd name="T8" fmla="*/ 0 w 278"/>
                <a:gd name="T9" fmla="*/ 1 h 665"/>
                <a:gd name="T10" fmla="*/ 3 w 278"/>
                <a:gd name="T11" fmla="*/ 1 h 665"/>
                <a:gd name="T12" fmla="*/ 277 w 278"/>
                <a:gd name="T13" fmla="*/ 159 h 665"/>
                <a:gd name="T14" fmla="*/ 278 w 278"/>
                <a:gd name="T15" fmla="*/ 161 h 665"/>
                <a:gd name="T16" fmla="*/ 278 w 278"/>
                <a:gd name="T17" fmla="*/ 663 h 665"/>
                <a:gd name="T18" fmla="*/ 276 w 278"/>
                <a:gd name="T19" fmla="*/ 665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8" h="665">
                  <a:moveTo>
                    <a:pt x="276" y="665"/>
                  </a:moveTo>
                  <a:cubicBezTo>
                    <a:pt x="275" y="665"/>
                    <a:pt x="274" y="664"/>
                    <a:pt x="274" y="663"/>
                  </a:cubicBezTo>
                  <a:cubicBezTo>
                    <a:pt x="274" y="162"/>
                    <a:pt x="274" y="162"/>
                    <a:pt x="274" y="162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4"/>
                    <a:pt x="0" y="2"/>
                    <a:pt x="0" y="1"/>
                  </a:cubicBezTo>
                  <a:cubicBezTo>
                    <a:pt x="1" y="0"/>
                    <a:pt x="2" y="0"/>
                    <a:pt x="3" y="1"/>
                  </a:cubicBezTo>
                  <a:cubicBezTo>
                    <a:pt x="277" y="159"/>
                    <a:pt x="277" y="159"/>
                    <a:pt x="277" y="159"/>
                  </a:cubicBezTo>
                  <a:cubicBezTo>
                    <a:pt x="278" y="160"/>
                    <a:pt x="278" y="160"/>
                    <a:pt x="278" y="161"/>
                  </a:cubicBezTo>
                  <a:cubicBezTo>
                    <a:pt x="278" y="663"/>
                    <a:pt x="278" y="663"/>
                    <a:pt x="278" y="663"/>
                  </a:cubicBezTo>
                  <a:cubicBezTo>
                    <a:pt x="278" y="664"/>
                    <a:pt x="277" y="665"/>
                    <a:pt x="276" y="665"/>
                  </a:cubicBezTo>
                  <a:close/>
                </a:path>
              </a:pathLst>
            </a:custGeom>
            <a:solidFill>
              <a:srgbClr val="9C319F">
                <a:lumMod val="60000"/>
                <a:lumOff val="4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6252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3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4B3FA1BD-71B2-4FDF-BAAF-4AC51A1ED864}"/>
                </a:ext>
              </a:extLst>
            </p:cNvPr>
            <p:cNvSpPr/>
            <p:nvPr/>
          </p:nvSpPr>
          <p:spPr>
            <a:xfrm>
              <a:off x="7701760" y="3908616"/>
              <a:ext cx="1204700" cy="771686"/>
            </a:xfrm>
            <a:prstGeom prst="ellipse">
              <a:avLst/>
            </a:prstGeom>
            <a:noFill/>
            <a:ln w="38100" cap="flat" cmpd="sng" algn="ctr">
              <a:solidFill>
                <a:sysClr val="window" lastClr="FFFFFF">
                  <a:alpha val="13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6252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3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3695D44A-012B-4A97-909D-60B866543C2C}"/>
                </a:ext>
              </a:extLst>
            </p:cNvPr>
            <p:cNvSpPr/>
            <p:nvPr/>
          </p:nvSpPr>
          <p:spPr>
            <a:xfrm>
              <a:off x="4508789" y="4432636"/>
              <a:ext cx="561612" cy="359749"/>
            </a:xfrm>
            <a:prstGeom prst="ellipse">
              <a:avLst/>
            </a:prstGeom>
            <a:noFill/>
            <a:ln w="38100" cap="flat" cmpd="sng" algn="ctr">
              <a:solidFill>
                <a:sysClr val="window" lastClr="FFFFFF">
                  <a:alpha val="36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6252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3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A7817259-D4E6-4FB5-9B95-B809DE558618}"/>
                </a:ext>
              </a:extLst>
            </p:cNvPr>
            <p:cNvSpPr/>
            <p:nvPr/>
          </p:nvSpPr>
          <p:spPr>
            <a:xfrm>
              <a:off x="4187284" y="4226668"/>
              <a:ext cx="1204700" cy="771686"/>
            </a:xfrm>
            <a:prstGeom prst="ellipse">
              <a:avLst/>
            </a:prstGeom>
            <a:noFill/>
            <a:ln w="38100" cap="flat" cmpd="sng" algn="ctr">
              <a:solidFill>
                <a:sysClr val="window" lastClr="FFFFFF">
                  <a:alpha val="36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6252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3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94" name="Rectangle 93">
            <a:extLst>
              <a:ext uri="{FF2B5EF4-FFF2-40B4-BE49-F238E27FC236}">
                <a16:creationId xmlns:a16="http://schemas.microsoft.com/office/drawing/2014/main" id="{DDC196ED-3752-4CBB-BA56-1B75DF0E537D}"/>
              </a:ext>
            </a:extLst>
          </p:cNvPr>
          <p:cNvSpPr/>
          <p:nvPr userDrawn="1"/>
        </p:nvSpPr>
        <p:spPr>
          <a:xfrm>
            <a:off x="-11363" y="3699"/>
            <a:ext cx="12188825" cy="6897973"/>
          </a:xfrm>
          <a:prstGeom prst="rect">
            <a:avLst/>
          </a:prstGeom>
          <a:gradFill flip="none" rotWithShape="1">
            <a:gsLst>
              <a:gs pos="5000">
                <a:srgbClr val="009FEB"/>
              </a:gs>
              <a:gs pos="100000">
                <a:srgbClr val="C79C2F">
                  <a:alpha val="38000"/>
                </a:srgbClr>
              </a:gs>
            </a:gsLst>
            <a:lin ang="27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9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048992" y="4149007"/>
            <a:ext cx="4389829" cy="1495922"/>
          </a:xfrm>
        </p:spPr>
        <p:txBody>
          <a:bodyPr>
            <a:spAutoFit/>
          </a:bodyPr>
          <a:lstStyle>
            <a:lvl1pPr algn="l">
              <a:defRPr kumimoji="0" lang="en-US" sz="5067" b="1" i="0" u="none" strike="noStrike" kern="120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9956665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Photo -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F48440C3-3406-0241-B633-53977276CA65}"/>
              </a:ext>
            </a:extLst>
          </p:cNvPr>
          <p:cNvGrpSpPr/>
          <p:nvPr userDrawn="1"/>
        </p:nvGrpSpPr>
        <p:grpSpPr>
          <a:xfrm rot="17352789">
            <a:off x="7419145" y="540386"/>
            <a:ext cx="5149128" cy="4867749"/>
            <a:chOff x="7490499" y="4498809"/>
            <a:chExt cx="5217461" cy="4932348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5CFC6185-F8C1-4B42-85CB-63FE4D7AD2E2}"/>
                </a:ext>
              </a:extLst>
            </p:cNvPr>
            <p:cNvGrpSpPr/>
            <p:nvPr userDrawn="1"/>
          </p:nvGrpSpPr>
          <p:grpSpPr>
            <a:xfrm rot="1403782">
              <a:off x="9354263" y="6540039"/>
              <a:ext cx="3353697" cy="2891118"/>
              <a:chOff x="6145306" y="524435"/>
              <a:chExt cx="5911866" cy="5096436"/>
            </a:xfrm>
          </p:grpSpPr>
          <p:sp>
            <p:nvSpPr>
              <p:cNvPr id="16" name="Hexagon 15">
                <a:extLst>
                  <a:ext uri="{FF2B5EF4-FFF2-40B4-BE49-F238E27FC236}">
                    <a16:creationId xmlns:a16="http://schemas.microsoft.com/office/drawing/2014/main" id="{904A7E8B-8AF9-D448-A12B-F305DD22E6FD}"/>
                  </a:ext>
                </a:extLst>
              </p:cNvPr>
              <p:cNvSpPr/>
              <p:nvPr userDrawn="1"/>
            </p:nvSpPr>
            <p:spPr>
              <a:xfrm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Hexagon 16">
                <a:extLst>
                  <a:ext uri="{FF2B5EF4-FFF2-40B4-BE49-F238E27FC236}">
                    <a16:creationId xmlns:a16="http://schemas.microsoft.com/office/drawing/2014/main" id="{D4C4F206-BB4B-444B-86D2-315C6B92AA0A}"/>
                  </a:ext>
                </a:extLst>
              </p:cNvPr>
              <p:cNvSpPr/>
              <p:nvPr userDrawn="1"/>
            </p:nvSpPr>
            <p:spPr>
              <a:xfrm rot="20131641"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8" name="Hexagon 17">
                <a:extLst>
                  <a:ext uri="{FF2B5EF4-FFF2-40B4-BE49-F238E27FC236}">
                    <a16:creationId xmlns:a16="http://schemas.microsoft.com/office/drawing/2014/main" id="{725215BD-7F9C-644C-8019-BD3637E1CC76}"/>
                  </a:ext>
                </a:extLst>
              </p:cNvPr>
              <p:cNvSpPr/>
              <p:nvPr userDrawn="1"/>
            </p:nvSpPr>
            <p:spPr>
              <a:xfrm rot="19178271"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76A0798C-9276-5B48-9276-6C8A38ECB483}"/>
                </a:ext>
              </a:extLst>
            </p:cNvPr>
            <p:cNvGrpSpPr/>
            <p:nvPr userDrawn="1"/>
          </p:nvGrpSpPr>
          <p:grpSpPr>
            <a:xfrm rot="1403782">
              <a:off x="7490499" y="4498809"/>
              <a:ext cx="2735506" cy="2358195"/>
              <a:chOff x="6145306" y="524435"/>
              <a:chExt cx="5911866" cy="5096436"/>
            </a:xfrm>
          </p:grpSpPr>
          <p:sp>
            <p:nvSpPr>
              <p:cNvPr id="13" name="Hexagon 12">
                <a:extLst>
                  <a:ext uri="{FF2B5EF4-FFF2-40B4-BE49-F238E27FC236}">
                    <a16:creationId xmlns:a16="http://schemas.microsoft.com/office/drawing/2014/main" id="{0F54EAD7-17B8-3544-80BC-E8219F305565}"/>
                  </a:ext>
                </a:extLst>
              </p:cNvPr>
              <p:cNvSpPr/>
              <p:nvPr userDrawn="1"/>
            </p:nvSpPr>
            <p:spPr>
              <a:xfrm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Hexagon 13">
                <a:extLst>
                  <a:ext uri="{FF2B5EF4-FFF2-40B4-BE49-F238E27FC236}">
                    <a16:creationId xmlns:a16="http://schemas.microsoft.com/office/drawing/2014/main" id="{1D581016-AFDF-FA4E-885B-4A2237B2DD71}"/>
                  </a:ext>
                </a:extLst>
              </p:cNvPr>
              <p:cNvSpPr/>
              <p:nvPr userDrawn="1"/>
            </p:nvSpPr>
            <p:spPr>
              <a:xfrm rot="20131641"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Hexagon 14">
                <a:extLst>
                  <a:ext uri="{FF2B5EF4-FFF2-40B4-BE49-F238E27FC236}">
                    <a16:creationId xmlns:a16="http://schemas.microsoft.com/office/drawing/2014/main" id="{C730BCCF-0F90-CD4B-9CC9-ACB9660BBF9F}"/>
                  </a:ext>
                </a:extLst>
              </p:cNvPr>
              <p:cNvSpPr/>
              <p:nvPr userDrawn="1"/>
            </p:nvSpPr>
            <p:spPr>
              <a:xfrm rot="19178271"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60F8DDF-5475-CF4D-81A8-76A6F286547A}"/>
                </a:ext>
              </a:extLst>
            </p:cNvPr>
            <p:cNvGrpSpPr/>
            <p:nvPr userDrawn="1"/>
          </p:nvGrpSpPr>
          <p:grpSpPr>
            <a:xfrm rot="2695849">
              <a:off x="7908172" y="4805527"/>
              <a:ext cx="1920205" cy="1655348"/>
              <a:chOff x="6145304" y="524435"/>
              <a:chExt cx="5911868" cy="5096436"/>
            </a:xfrm>
          </p:grpSpPr>
          <p:sp>
            <p:nvSpPr>
              <p:cNvPr id="10" name="Hexagon 9">
                <a:extLst>
                  <a:ext uri="{FF2B5EF4-FFF2-40B4-BE49-F238E27FC236}">
                    <a16:creationId xmlns:a16="http://schemas.microsoft.com/office/drawing/2014/main" id="{70E107EC-09F2-F849-880B-22EAAA8EC3F1}"/>
                  </a:ext>
                </a:extLst>
              </p:cNvPr>
              <p:cNvSpPr/>
              <p:nvPr userDrawn="1"/>
            </p:nvSpPr>
            <p:spPr>
              <a:xfrm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" name="Hexagon 10">
                <a:extLst>
                  <a:ext uri="{FF2B5EF4-FFF2-40B4-BE49-F238E27FC236}">
                    <a16:creationId xmlns:a16="http://schemas.microsoft.com/office/drawing/2014/main" id="{93BF20FA-7280-874A-8FE6-D979CB9A91B4}"/>
                  </a:ext>
                </a:extLst>
              </p:cNvPr>
              <p:cNvSpPr/>
              <p:nvPr userDrawn="1"/>
            </p:nvSpPr>
            <p:spPr>
              <a:xfrm rot="20131641"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Hexagon 11">
                <a:extLst>
                  <a:ext uri="{FF2B5EF4-FFF2-40B4-BE49-F238E27FC236}">
                    <a16:creationId xmlns:a16="http://schemas.microsoft.com/office/drawing/2014/main" id="{34BF9430-F3AD-6945-9656-E34780003149}"/>
                  </a:ext>
                </a:extLst>
              </p:cNvPr>
              <p:cNvSpPr/>
              <p:nvPr userDrawn="1"/>
            </p:nvSpPr>
            <p:spPr>
              <a:xfrm rot="19178271">
                <a:off x="6145304" y="524435"/>
                <a:ext cx="5911865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</p:grp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2865" y="1053321"/>
            <a:ext cx="10953750" cy="2867025"/>
          </a:xfrm>
          <a:prstGeom prst="rect">
            <a:avLst/>
          </a:prstGeom>
        </p:spPr>
      </p:pic>
      <p:sp>
        <p:nvSpPr>
          <p:cNvPr id="28" name="Rectangle 27"/>
          <p:cNvSpPr/>
          <p:nvPr userDrawn="1"/>
        </p:nvSpPr>
        <p:spPr>
          <a:xfrm>
            <a:off x="9949971" y="6662830"/>
            <a:ext cx="2165511" cy="14366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r">
              <a:lnSpc>
                <a:spcPct val="115000"/>
              </a:lnSpc>
            </a:pPr>
            <a:r>
              <a:rPr lang="en-GB" sz="990" b="1" i="1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CS CONFIDENTIAL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3DAFEDD0-F49A-4C95-9D58-1E4DDD6BDE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336"/>
          <a:stretch/>
        </p:blipFill>
        <p:spPr>
          <a:xfrm>
            <a:off x="10163823" y="260653"/>
            <a:ext cx="1525204" cy="195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615290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18254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9873" y="1728570"/>
            <a:ext cx="11334465" cy="43064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031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9873" y="1735848"/>
            <a:ext cx="5577385" cy="429919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735848"/>
            <a:ext cx="5604680" cy="429919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06212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49823" y="285657"/>
            <a:ext cx="8886944" cy="779595"/>
          </a:xfrm>
        </p:spPr>
        <p:txBody>
          <a:bodyPr>
            <a:normAutofit/>
          </a:bodyPr>
          <a:lstStyle>
            <a:lvl1pPr algn="l" defTabSz="68577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200" b="1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74989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8646695" cy="770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prstClr val="white"/>
                </a:solidFill>
              </a:ln>
              <a:solidFill>
                <a:prstClr val="white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1DC8841-8C08-47B2-B868-17B8B7374ED6}"/>
              </a:ext>
            </a:extLst>
          </p:cNvPr>
          <p:cNvCxnSpPr/>
          <p:nvPr userDrawn="1"/>
        </p:nvCxnSpPr>
        <p:spPr>
          <a:xfrm>
            <a:off x="323869" y="266700"/>
            <a:ext cx="7092933" cy="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10752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Photo -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970D2D1F-F741-E643-B963-6A89F0E3338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207" y="978602"/>
            <a:ext cx="10329682" cy="285260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AB2A7EC8-B107-0148-9C8D-409E28D7B377}"/>
              </a:ext>
            </a:extLst>
          </p:cNvPr>
          <p:cNvSpPr/>
          <p:nvPr userDrawn="1"/>
        </p:nvSpPr>
        <p:spPr>
          <a:xfrm>
            <a:off x="3302837" y="2984310"/>
            <a:ext cx="45719" cy="2519753"/>
          </a:xfrm>
          <a:prstGeom prst="rect">
            <a:avLst/>
          </a:prstGeom>
          <a:gradFill>
            <a:gsLst>
              <a:gs pos="25000">
                <a:srgbClr val="D54E7B"/>
              </a:gs>
              <a:gs pos="0">
                <a:srgbClr val="F6586E"/>
              </a:gs>
              <a:gs pos="75000">
                <a:srgbClr val="923A94"/>
              </a:gs>
              <a:gs pos="50000">
                <a:srgbClr val="B34487"/>
              </a:gs>
              <a:gs pos="100000">
                <a:srgbClr val="7030A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5C041A95-6A6D-4A46-BF5D-6DE351C4E8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279" y="2824683"/>
            <a:ext cx="2670014" cy="1309818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F48440C3-3406-0241-B633-53977276CA65}"/>
              </a:ext>
            </a:extLst>
          </p:cNvPr>
          <p:cNvGrpSpPr/>
          <p:nvPr userDrawn="1"/>
        </p:nvGrpSpPr>
        <p:grpSpPr>
          <a:xfrm rot="17352789">
            <a:off x="7419145" y="540386"/>
            <a:ext cx="5149128" cy="4867749"/>
            <a:chOff x="7490499" y="4498809"/>
            <a:chExt cx="5217461" cy="4932348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5CFC6185-F8C1-4B42-85CB-63FE4D7AD2E2}"/>
                </a:ext>
              </a:extLst>
            </p:cNvPr>
            <p:cNvGrpSpPr/>
            <p:nvPr userDrawn="1"/>
          </p:nvGrpSpPr>
          <p:grpSpPr>
            <a:xfrm rot="1403782">
              <a:off x="9354263" y="6540039"/>
              <a:ext cx="3353697" cy="2891118"/>
              <a:chOff x="6145306" y="524435"/>
              <a:chExt cx="5911866" cy="5096436"/>
            </a:xfrm>
          </p:grpSpPr>
          <p:sp>
            <p:nvSpPr>
              <p:cNvPr id="16" name="Hexagon 15">
                <a:extLst>
                  <a:ext uri="{FF2B5EF4-FFF2-40B4-BE49-F238E27FC236}">
                    <a16:creationId xmlns:a16="http://schemas.microsoft.com/office/drawing/2014/main" id="{904A7E8B-8AF9-D448-A12B-F305DD22E6FD}"/>
                  </a:ext>
                </a:extLst>
              </p:cNvPr>
              <p:cNvSpPr/>
              <p:nvPr userDrawn="1"/>
            </p:nvSpPr>
            <p:spPr>
              <a:xfrm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Hexagon 16">
                <a:extLst>
                  <a:ext uri="{FF2B5EF4-FFF2-40B4-BE49-F238E27FC236}">
                    <a16:creationId xmlns:a16="http://schemas.microsoft.com/office/drawing/2014/main" id="{D4C4F206-BB4B-444B-86D2-315C6B92AA0A}"/>
                  </a:ext>
                </a:extLst>
              </p:cNvPr>
              <p:cNvSpPr/>
              <p:nvPr userDrawn="1"/>
            </p:nvSpPr>
            <p:spPr>
              <a:xfrm rot="20131641"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8" name="Hexagon 17">
                <a:extLst>
                  <a:ext uri="{FF2B5EF4-FFF2-40B4-BE49-F238E27FC236}">
                    <a16:creationId xmlns:a16="http://schemas.microsoft.com/office/drawing/2014/main" id="{725215BD-7F9C-644C-8019-BD3637E1CC76}"/>
                  </a:ext>
                </a:extLst>
              </p:cNvPr>
              <p:cNvSpPr/>
              <p:nvPr userDrawn="1"/>
            </p:nvSpPr>
            <p:spPr>
              <a:xfrm rot="19178271"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76A0798C-9276-5B48-9276-6C8A38ECB483}"/>
                </a:ext>
              </a:extLst>
            </p:cNvPr>
            <p:cNvGrpSpPr/>
            <p:nvPr userDrawn="1"/>
          </p:nvGrpSpPr>
          <p:grpSpPr>
            <a:xfrm rot="1403782">
              <a:off x="7490499" y="4498809"/>
              <a:ext cx="2735506" cy="2358195"/>
              <a:chOff x="6145306" y="524435"/>
              <a:chExt cx="5911866" cy="5096436"/>
            </a:xfrm>
          </p:grpSpPr>
          <p:sp>
            <p:nvSpPr>
              <p:cNvPr id="13" name="Hexagon 12">
                <a:extLst>
                  <a:ext uri="{FF2B5EF4-FFF2-40B4-BE49-F238E27FC236}">
                    <a16:creationId xmlns:a16="http://schemas.microsoft.com/office/drawing/2014/main" id="{0F54EAD7-17B8-3544-80BC-E8219F305565}"/>
                  </a:ext>
                </a:extLst>
              </p:cNvPr>
              <p:cNvSpPr/>
              <p:nvPr userDrawn="1"/>
            </p:nvSpPr>
            <p:spPr>
              <a:xfrm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Hexagon 13">
                <a:extLst>
                  <a:ext uri="{FF2B5EF4-FFF2-40B4-BE49-F238E27FC236}">
                    <a16:creationId xmlns:a16="http://schemas.microsoft.com/office/drawing/2014/main" id="{1D581016-AFDF-FA4E-885B-4A2237B2DD71}"/>
                  </a:ext>
                </a:extLst>
              </p:cNvPr>
              <p:cNvSpPr/>
              <p:nvPr userDrawn="1"/>
            </p:nvSpPr>
            <p:spPr>
              <a:xfrm rot="20131641"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Hexagon 14">
                <a:extLst>
                  <a:ext uri="{FF2B5EF4-FFF2-40B4-BE49-F238E27FC236}">
                    <a16:creationId xmlns:a16="http://schemas.microsoft.com/office/drawing/2014/main" id="{C730BCCF-0F90-CD4B-9CC9-ACB9660BBF9F}"/>
                  </a:ext>
                </a:extLst>
              </p:cNvPr>
              <p:cNvSpPr/>
              <p:nvPr userDrawn="1"/>
            </p:nvSpPr>
            <p:spPr>
              <a:xfrm rot="19178271"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60F8DDF-5475-CF4D-81A8-76A6F286547A}"/>
                </a:ext>
              </a:extLst>
            </p:cNvPr>
            <p:cNvGrpSpPr/>
            <p:nvPr userDrawn="1"/>
          </p:nvGrpSpPr>
          <p:grpSpPr>
            <a:xfrm rot="2695849">
              <a:off x="7908172" y="4805527"/>
              <a:ext cx="1920205" cy="1655348"/>
              <a:chOff x="6145304" y="524435"/>
              <a:chExt cx="5911868" cy="5096436"/>
            </a:xfrm>
          </p:grpSpPr>
          <p:sp>
            <p:nvSpPr>
              <p:cNvPr id="10" name="Hexagon 9">
                <a:extLst>
                  <a:ext uri="{FF2B5EF4-FFF2-40B4-BE49-F238E27FC236}">
                    <a16:creationId xmlns:a16="http://schemas.microsoft.com/office/drawing/2014/main" id="{70E107EC-09F2-F849-880B-22EAAA8EC3F1}"/>
                  </a:ext>
                </a:extLst>
              </p:cNvPr>
              <p:cNvSpPr/>
              <p:nvPr userDrawn="1"/>
            </p:nvSpPr>
            <p:spPr>
              <a:xfrm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" name="Hexagon 10">
                <a:extLst>
                  <a:ext uri="{FF2B5EF4-FFF2-40B4-BE49-F238E27FC236}">
                    <a16:creationId xmlns:a16="http://schemas.microsoft.com/office/drawing/2014/main" id="{93BF20FA-7280-874A-8FE6-D979CB9A91B4}"/>
                  </a:ext>
                </a:extLst>
              </p:cNvPr>
              <p:cNvSpPr/>
              <p:nvPr userDrawn="1"/>
            </p:nvSpPr>
            <p:spPr>
              <a:xfrm rot="20131641"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Hexagon 11">
                <a:extLst>
                  <a:ext uri="{FF2B5EF4-FFF2-40B4-BE49-F238E27FC236}">
                    <a16:creationId xmlns:a16="http://schemas.microsoft.com/office/drawing/2014/main" id="{34BF9430-F3AD-6945-9656-E34780003149}"/>
                  </a:ext>
                </a:extLst>
              </p:cNvPr>
              <p:cNvSpPr/>
              <p:nvPr userDrawn="1"/>
            </p:nvSpPr>
            <p:spPr>
              <a:xfrm rot="19178271">
                <a:off x="6145304" y="524435"/>
                <a:ext cx="5911865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</p:grpSp>
      <p:pic>
        <p:nvPicPr>
          <p:cNvPr id="20" name="blue_tcs_logo.png">
            <a:extLst>
              <a:ext uri="{FF2B5EF4-FFF2-40B4-BE49-F238E27FC236}">
                <a16:creationId xmlns:a16="http://schemas.microsoft.com/office/drawing/2014/main" id="{BD9E3FAA-3462-8049-9360-B34E1515A7C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6285" y="582690"/>
            <a:ext cx="2012950" cy="330250"/>
          </a:xfrm>
          <a:prstGeom prst="rect">
            <a:avLst/>
          </a:prstGeom>
          <a:ln w="12700">
            <a:miter lim="400000"/>
          </a:ln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06F9CFE-4812-0A4E-BBB2-6DE85D991BEF}"/>
              </a:ext>
            </a:extLst>
          </p:cNvPr>
          <p:cNvSpPr/>
          <p:nvPr userDrawn="1"/>
        </p:nvSpPr>
        <p:spPr>
          <a:xfrm>
            <a:off x="6897510" y="6464309"/>
            <a:ext cx="511233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solidFill>
                  <a:prstClr val="white">
                    <a:lumMod val="75000"/>
                  </a:prstClr>
                </a:solidFill>
              </a:rPr>
              <a:t>TCS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24408460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Photo -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>
            <a:extLst>
              <a:ext uri="{FF2B5EF4-FFF2-40B4-BE49-F238E27FC236}">
                <a16:creationId xmlns:a16="http://schemas.microsoft.com/office/drawing/2014/main" id="{562BB57E-50C3-CE44-A70B-0213C3A2D18C}"/>
              </a:ext>
            </a:extLst>
          </p:cNvPr>
          <p:cNvSpPr txBox="1"/>
          <p:nvPr userDrawn="1"/>
        </p:nvSpPr>
        <p:spPr bwMode="auto">
          <a:xfrm>
            <a:off x="10847625" y="6666473"/>
            <a:ext cx="1459054" cy="24622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91440" tIns="45720" rIns="91440" bIns="45720" rtlCol="0" anchor="ctr">
            <a:spAutoFit/>
          </a:bodyPr>
          <a:lstStyle/>
          <a:p>
            <a:r>
              <a:rPr lang="en-US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Myriad Pro" charset="0"/>
                <a:ea typeface="Myriad Pro" charset="0"/>
                <a:cs typeface="Myriad Pro" charset="0"/>
              </a:rPr>
              <a:t>TCS CONFIDENTIAL</a:t>
            </a:r>
            <a:endParaRPr lang="en-US" sz="1000" dirty="0">
              <a:solidFill>
                <a:prstClr val="black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9513CB5-7FD0-438A-81B2-042189AF1D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336"/>
          <a:stretch/>
        </p:blipFill>
        <p:spPr>
          <a:xfrm>
            <a:off x="10163823" y="260653"/>
            <a:ext cx="1525204" cy="195313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29A4EC1-6143-4A05-9589-E1AA6721E00A}"/>
              </a:ext>
            </a:extLst>
          </p:cNvPr>
          <p:cNvCxnSpPr/>
          <p:nvPr userDrawn="1"/>
        </p:nvCxnSpPr>
        <p:spPr>
          <a:xfrm>
            <a:off x="323869" y="266700"/>
            <a:ext cx="7092933" cy="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3298220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38">
            <a:extLst>
              <a:ext uri="{FF2B5EF4-FFF2-40B4-BE49-F238E27FC236}">
                <a16:creationId xmlns:a16="http://schemas.microsoft.com/office/drawing/2014/main" id="{973AE830-0361-1F40-9D00-8E8039EFF016}"/>
              </a:ext>
            </a:extLst>
          </p:cNvPr>
          <p:cNvGrpSpPr/>
          <p:nvPr userDrawn="1"/>
        </p:nvGrpSpPr>
        <p:grpSpPr>
          <a:xfrm>
            <a:off x="6538128" y="1977328"/>
            <a:ext cx="2525968" cy="1239154"/>
            <a:chOff x="6538128" y="1946179"/>
            <a:chExt cx="2670014" cy="1309818"/>
          </a:xfrm>
        </p:grpSpPr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69F1C79F-1D8E-1946-A8DA-0543AC5D47A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38128" y="1946179"/>
              <a:ext cx="2670014" cy="1309818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5E45E81B-DB3F-6C4B-9989-D545BA373B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38128" y="1946179"/>
              <a:ext cx="2670014" cy="1309818"/>
            </a:xfrm>
            <a:prstGeom prst="rect">
              <a:avLst/>
            </a:prstGeom>
          </p:spPr>
        </p:pic>
      </p:grpSp>
      <p:sp>
        <p:nvSpPr>
          <p:cNvPr id="42" name="Title 5"/>
          <p:cNvSpPr>
            <a:spLocks noGrp="1"/>
          </p:cNvSpPr>
          <p:nvPr>
            <p:ph type="title"/>
          </p:nvPr>
        </p:nvSpPr>
        <p:spPr>
          <a:xfrm>
            <a:off x="336569" y="149049"/>
            <a:ext cx="10315389" cy="77959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0" name="Content Placeholder 2"/>
          <p:cNvSpPr>
            <a:spLocks noGrp="1"/>
          </p:cNvSpPr>
          <p:nvPr>
            <p:ph idx="1"/>
          </p:nvPr>
        </p:nvSpPr>
        <p:spPr>
          <a:xfrm>
            <a:off x="329873" y="1728570"/>
            <a:ext cx="11334465" cy="430647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644108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Photo -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F48440C3-3406-0241-B633-53977276CA65}"/>
              </a:ext>
            </a:extLst>
          </p:cNvPr>
          <p:cNvGrpSpPr/>
          <p:nvPr userDrawn="1"/>
        </p:nvGrpSpPr>
        <p:grpSpPr>
          <a:xfrm rot="17352789">
            <a:off x="7419145" y="540386"/>
            <a:ext cx="5149128" cy="4867749"/>
            <a:chOff x="7490499" y="4498809"/>
            <a:chExt cx="5217461" cy="4932348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5CFC6185-F8C1-4B42-85CB-63FE4D7AD2E2}"/>
                </a:ext>
              </a:extLst>
            </p:cNvPr>
            <p:cNvGrpSpPr/>
            <p:nvPr userDrawn="1"/>
          </p:nvGrpSpPr>
          <p:grpSpPr>
            <a:xfrm rot="1403782">
              <a:off x="9354263" y="6540039"/>
              <a:ext cx="3353697" cy="2891118"/>
              <a:chOff x="6145306" y="524435"/>
              <a:chExt cx="5911866" cy="5096436"/>
            </a:xfrm>
          </p:grpSpPr>
          <p:sp>
            <p:nvSpPr>
              <p:cNvPr id="16" name="Hexagon 15">
                <a:extLst>
                  <a:ext uri="{FF2B5EF4-FFF2-40B4-BE49-F238E27FC236}">
                    <a16:creationId xmlns:a16="http://schemas.microsoft.com/office/drawing/2014/main" id="{904A7E8B-8AF9-D448-A12B-F305DD22E6FD}"/>
                  </a:ext>
                </a:extLst>
              </p:cNvPr>
              <p:cNvSpPr/>
              <p:nvPr userDrawn="1"/>
            </p:nvSpPr>
            <p:spPr>
              <a:xfrm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Hexagon 16">
                <a:extLst>
                  <a:ext uri="{FF2B5EF4-FFF2-40B4-BE49-F238E27FC236}">
                    <a16:creationId xmlns:a16="http://schemas.microsoft.com/office/drawing/2014/main" id="{D4C4F206-BB4B-444B-86D2-315C6B92AA0A}"/>
                  </a:ext>
                </a:extLst>
              </p:cNvPr>
              <p:cNvSpPr/>
              <p:nvPr userDrawn="1"/>
            </p:nvSpPr>
            <p:spPr>
              <a:xfrm rot="20131641"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8" name="Hexagon 17">
                <a:extLst>
                  <a:ext uri="{FF2B5EF4-FFF2-40B4-BE49-F238E27FC236}">
                    <a16:creationId xmlns:a16="http://schemas.microsoft.com/office/drawing/2014/main" id="{725215BD-7F9C-644C-8019-BD3637E1CC76}"/>
                  </a:ext>
                </a:extLst>
              </p:cNvPr>
              <p:cNvSpPr/>
              <p:nvPr userDrawn="1"/>
            </p:nvSpPr>
            <p:spPr>
              <a:xfrm rot="19178271"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76A0798C-9276-5B48-9276-6C8A38ECB483}"/>
                </a:ext>
              </a:extLst>
            </p:cNvPr>
            <p:cNvGrpSpPr/>
            <p:nvPr userDrawn="1"/>
          </p:nvGrpSpPr>
          <p:grpSpPr>
            <a:xfrm rot="1403782">
              <a:off x="7490499" y="4498809"/>
              <a:ext cx="2735506" cy="2358195"/>
              <a:chOff x="6145306" y="524435"/>
              <a:chExt cx="5911866" cy="5096436"/>
            </a:xfrm>
          </p:grpSpPr>
          <p:sp>
            <p:nvSpPr>
              <p:cNvPr id="13" name="Hexagon 12">
                <a:extLst>
                  <a:ext uri="{FF2B5EF4-FFF2-40B4-BE49-F238E27FC236}">
                    <a16:creationId xmlns:a16="http://schemas.microsoft.com/office/drawing/2014/main" id="{0F54EAD7-17B8-3544-80BC-E8219F305565}"/>
                  </a:ext>
                </a:extLst>
              </p:cNvPr>
              <p:cNvSpPr/>
              <p:nvPr userDrawn="1"/>
            </p:nvSpPr>
            <p:spPr>
              <a:xfrm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Hexagon 13">
                <a:extLst>
                  <a:ext uri="{FF2B5EF4-FFF2-40B4-BE49-F238E27FC236}">
                    <a16:creationId xmlns:a16="http://schemas.microsoft.com/office/drawing/2014/main" id="{1D581016-AFDF-FA4E-885B-4A2237B2DD71}"/>
                  </a:ext>
                </a:extLst>
              </p:cNvPr>
              <p:cNvSpPr/>
              <p:nvPr userDrawn="1"/>
            </p:nvSpPr>
            <p:spPr>
              <a:xfrm rot="20131641"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Hexagon 14">
                <a:extLst>
                  <a:ext uri="{FF2B5EF4-FFF2-40B4-BE49-F238E27FC236}">
                    <a16:creationId xmlns:a16="http://schemas.microsoft.com/office/drawing/2014/main" id="{C730BCCF-0F90-CD4B-9CC9-ACB9660BBF9F}"/>
                  </a:ext>
                </a:extLst>
              </p:cNvPr>
              <p:cNvSpPr/>
              <p:nvPr userDrawn="1"/>
            </p:nvSpPr>
            <p:spPr>
              <a:xfrm rot="19178271"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60F8DDF-5475-CF4D-81A8-76A6F286547A}"/>
                </a:ext>
              </a:extLst>
            </p:cNvPr>
            <p:cNvGrpSpPr/>
            <p:nvPr userDrawn="1"/>
          </p:nvGrpSpPr>
          <p:grpSpPr>
            <a:xfrm rot="2695849">
              <a:off x="7908172" y="4805527"/>
              <a:ext cx="1920205" cy="1655348"/>
              <a:chOff x="6145304" y="524435"/>
              <a:chExt cx="5911868" cy="5096436"/>
            </a:xfrm>
          </p:grpSpPr>
          <p:sp>
            <p:nvSpPr>
              <p:cNvPr id="10" name="Hexagon 9">
                <a:extLst>
                  <a:ext uri="{FF2B5EF4-FFF2-40B4-BE49-F238E27FC236}">
                    <a16:creationId xmlns:a16="http://schemas.microsoft.com/office/drawing/2014/main" id="{70E107EC-09F2-F849-880B-22EAAA8EC3F1}"/>
                  </a:ext>
                </a:extLst>
              </p:cNvPr>
              <p:cNvSpPr/>
              <p:nvPr userDrawn="1"/>
            </p:nvSpPr>
            <p:spPr>
              <a:xfrm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" name="Hexagon 10">
                <a:extLst>
                  <a:ext uri="{FF2B5EF4-FFF2-40B4-BE49-F238E27FC236}">
                    <a16:creationId xmlns:a16="http://schemas.microsoft.com/office/drawing/2014/main" id="{93BF20FA-7280-874A-8FE6-D979CB9A91B4}"/>
                  </a:ext>
                </a:extLst>
              </p:cNvPr>
              <p:cNvSpPr/>
              <p:nvPr userDrawn="1"/>
            </p:nvSpPr>
            <p:spPr>
              <a:xfrm rot="20131641"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Hexagon 11">
                <a:extLst>
                  <a:ext uri="{FF2B5EF4-FFF2-40B4-BE49-F238E27FC236}">
                    <a16:creationId xmlns:a16="http://schemas.microsoft.com/office/drawing/2014/main" id="{34BF9430-F3AD-6945-9656-E34780003149}"/>
                  </a:ext>
                </a:extLst>
              </p:cNvPr>
              <p:cNvSpPr/>
              <p:nvPr userDrawn="1"/>
            </p:nvSpPr>
            <p:spPr>
              <a:xfrm rot="19178271">
                <a:off x="6145304" y="524435"/>
                <a:ext cx="5911865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</p:grp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2865" y="1053321"/>
            <a:ext cx="10953750" cy="2867025"/>
          </a:xfrm>
          <a:prstGeom prst="rect">
            <a:avLst/>
          </a:prstGeom>
        </p:spPr>
      </p:pic>
      <p:sp>
        <p:nvSpPr>
          <p:cNvPr id="28" name="Rectangle 27"/>
          <p:cNvSpPr/>
          <p:nvPr userDrawn="1"/>
        </p:nvSpPr>
        <p:spPr>
          <a:xfrm>
            <a:off x="9949971" y="6662830"/>
            <a:ext cx="2165511" cy="14366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r">
              <a:lnSpc>
                <a:spcPct val="115000"/>
              </a:lnSpc>
            </a:pPr>
            <a:r>
              <a:rPr lang="en-GB" sz="990" b="1" i="1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CS CONFIDENTIAL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747237F9-4DEE-46F8-ADA7-E704A2F086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336"/>
          <a:stretch/>
        </p:blipFill>
        <p:spPr>
          <a:xfrm>
            <a:off x="10163823" y="260653"/>
            <a:ext cx="1525204" cy="195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39653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Photo -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970D2D1F-F741-E643-B963-6A89F0E3338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207" y="978602"/>
            <a:ext cx="10329682" cy="285260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AB2A7EC8-B107-0148-9C8D-409E28D7B377}"/>
              </a:ext>
            </a:extLst>
          </p:cNvPr>
          <p:cNvSpPr/>
          <p:nvPr userDrawn="1"/>
        </p:nvSpPr>
        <p:spPr>
          <a:xfrm>
            <a:off x="3302837" y="2984310"/>
            <a:ext cx="45719" cy="2519753"/>
          </a:xfrm>
          <a:prstGeom prst="rect">
            <a:avLst/>
          </a:prstGeom>
          <a:gradFill>
            <a:gsLst>
              <a:gs pos="25000">
                <a:srgbClr val="D54E7B"/>
              </a:gs>
              <a:gs pos="0">
                <a:srgbClr val="F6586E"/>
              </a:gs>
              <a:gs pos="75000">
                <a:srgbClr val="923A94"/>
              </a:gs>
              <a:gs pos="50000">
                <a:srgbClr val="B34487"/>
              </a:gs>
              <a:gs pos="100000">
                <a:srgbClr val="7030A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5C041A95-6A6D-4A46-BF5D-6DE351C4E8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279" y="2824683"/>
            <a:ext cx="2670014" cy="1309818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F48440C3-3406-0241-B633-53977276CA65}"/>
              </a:ext>
            </a:extLst>
          </p:cNvPr>
          <p:cNvGrpSpPr/>
          <p:nvPr userDrawn="1"/>
        </p:nvGrpSpPr>
        <p:grpSpPr>
          <a:xfrm rot="17352789">
            <a:off x="7419145" y="540386"/>
            <a:ext cx="5149128" cy="4867749"/>
            <a:chOff x="7490499" y="4498809"/>
            <a:chExt cx="5217461" cy="4932348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5CFC6185-F8C1-4B42-85CB-63FE4D7AD2E2}"/>
                </a:ext>
              </a:extLst>
            </p:cNvPr>
            <p:cNvGrpSpPr/>
            <p:nvPr userDrawn="1"/>
          </p:nvGrpSpPr>
          <p:grpSpPr>
            <a:xfrm rot="1403782">
              <a:off x="9354263" y="6540039"/>
              <a:ext cx="3353697" cy="2891118"/>
              <a:chOff x="6145306" y="524435"/>
              <a:chExt cx="5911866" cy="5096436"/>
            </a:xfrm>
          </p:grpSpPr>
          <p:sp>
            <p:nvSpPr>
              <p:cNvPr id="16" name="Hexagon 15">
                <a:extLst>
                  <a:ext uri="{FF2B5EF4-FFF2-40B4-BE49-F238E27FC236}">
                    <a16:creationId xmlns:a16="http://schemas.microsoft.com/office/drawing/2014/main" id="{904A7E8B-8AF9-D448-A12B-F305DD22E6FD}"/>
                  </a:ext>
                </a:extLst>
              </p:cNvPr>
              <p:cNvSpPr/>
              <p:nvPr userDrawn="1"/>
            </p:nvSpPr>
            <p:spPr>
              <a:xfrm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Hexagon 16">
                <a:extLst>
                  <a:ext uri="{FF2B5EF4-FFF2-40B4-BE49-F238E27FC236}">
                    <a16:creationId xmlns:a16="http://schemas.microsoft.com/office/drawing/2014/main" id="{D4C4F206-BB4B-444B-86D2-315C6B92AA0A}"/>
                  </a:ext>
                </a:extLst>
              </p:cNvPr>
              <p:cNvSpPr/>
              <p:nvPr userDrawn="1"/>
            </p:nvSpPr>
            <p:spPr>
              <a:xfrm rot="20131641"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8" name="Hexagon 17">
                <a:extLst>
                  <a:ext uri="{FF2B5EF4-FFF2-40B4-BE49-F238E27FC236}">
                    <a16:creationId xmlns:a16="http://schemas.microsoft.com/office/drawing/2014/main" id="{725215BD-7F9C-644C-8019-BD3637E1CC76}"/>
                  </a:ext>
                </a:extLst>
              </p:cNvPr>
              <p:cNvSpPr/>
              <p:nvPr userDrawn="1"/>
            </p:nvSpPr>
            <p:spPr>
              <a:xfrm rot="19178271"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76A0798C-9276-5B48-9276-6C8A38ECB483}"/>
                </a:ext>
              </a:extLst>
            </p:cNvPr>
            <p:cNvGrpSpPr/>
            <p:nvPr userDrawn="1"/>
          </p:nvGrpSpPr>
          <p:grpSpPr>
            <a:xfrm rot="1403782">
              <a:off x="7490499" y="4498809"/>
              <a:ext cx="2735506" cy="2358195"/>
              <a:chOff x="6145306" y="524435"/>
              <a:chExt cx="5911866" cy="5096436"/>
            </a:xfrm>
          </p:grpSpPr>
          <p:sp>
            <p:nvSpPr>
              <p:cNvPr id="13" name="Hexagon 12">
                <a:extLst>
                  <a:ext uri="{FF2B5EF4-FFF2-40B4-BE49-F238E27FC236}">
                    <a16:creationId xmlns:a16="http://schemas.microsoft.com/office/drawing/2014/main" id="{0F54EAD7-17B8-3544-80BC-E8219F305565}"/>
                  </a:ext>
                </a:extLst>
              </p:cNvPr>
              <p:cNvSpPr/>
              <p:nvPr userDrawn="1"/>
            </p:nvSpPr>
            <p:spPr>
              <a:xfrm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Hexagon 13">
                <a:extLst>
                  <a:ext uri="{FF2B5EF4-FFF2-40B4-BE49-F238E27FC236}">
                    <a16:creationId xmlns:a16="http://schemas.microsoft.com/office/drawing/2014/main" id="{1D581016-AFDF-FA4E-885B-4A2237B2DD71}"/>
                  </a:ext>
                </a:extLst>
              </p:cNvPr>
              <p:cNvSpPr/>
              <p:nvPr userDrawn="1"/>
            </p:nvSpPr>
            <p:spPr>
              <a:xfrm rot="20131641"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Hexagon 14">
                <a:extLst>
                  <a:ext uri="{FF2B5EF4-FFF2-40B4-BE49-F238E27FC236}">
                    <a16:creationId xmlns:a16="http://schemas.microsoft.com/office/drawing/2014/main" id="{C730BCCF-0F90-CD4B-9CC9-ACB9660BBF9F}"/>
                  </a:ext>
                </a:extLst>
              </p:cNvPr>
              <p:cNvSpPr/>
              <p:nvPr userDrawn="1"/>
            </p:nvSpPr>
            <p:spPr>
              <a:xfrm rot="19178271"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60F8DDF-5475-CF4D-81A8-76A6F286547A}"/>
                </a:ext>
              </a:extLst>
            </p:cNvPr>
            <p:cNvGrpSpPr/>
            <p:nvPr userDrawn="1"/>
          </p:nvGrpSpPr>
          <p:grpSpPr>
            <a:xfrm rot="2695849">
              <a:off x="7908172" y="4805527"/>
              <a:ext cx="1920205" cy="1655348"/>
              <a:chOff x="6145304" y="524435"/>
              <a:chExt cx="5911868" cy="5096436"/>
            </a:xfrm>
          </p:grpSpPr>
          <p:sp>
            <p:nvSpPr>
              <p:cNvPr id="10" name="Hexagon 9">
                <a:extLst>
                  <a:ext uri="{FF2B5EF4-FFF2-40B4-BE49-F238E27FC236}">
                    <a16:creationId xmlns:a16="http://schemas.microsoft.com/office/drawing/2014/main" id="{70E107EC-09F2-F849-880B-22EAAA8EC3F1}"/>
                  </a:ext>
                </a:extLst>
              </p:cNvPr>
              <p:cNvSpPr/>
              <p:nvPr userDrawn="1"/>
            </p:nvSpPr>
            <p:spPr>
              <a:xfrm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" name="Hexagon 10">
                <a:extLst>
                  <a:ext uri="{FF2B5EF4-FFF2-40B4-BE49-F238E27FC236}">
                    <a16:creationId xmlns:a16="http://schemas.microsoft.com/office/drawing/2014/main" id="{93BF20FA-7280-874A-8FE6-D979CB9A91B4}"/>
                  </a:ext>
                </a:extLst>
              </p:cNvPr>
              <p:cNvSpPr/>
              <p:nvPr userDrawn="1"/>
            </p:nvSpPr>
            <p:spPr>
              <a:xfrm rot="20131641"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Hexagon 11">
                <a:extLst>
                  <a:ext uri="{FF2B5EF4-FFF2-40B4-BE49-F238E27FC236}">
                    <a16:creationId xmlns:a16="http://schemas.microsoft.com/office/drawing/2014/main" id="{34BF9430-F3AD-6945-9656-E34780003149}"/>
                  </a:ext>
                </a:extLst>
              </p:cNvPr>
              <p:cNvSpPr/>
              <p:nvPr userDrawn="1"/>
            </p:nvSpPr>
            <p:spPr>
              <a:xfrm rot="19178271">
                <a:off x="6145304" y="524435"/>
                <a:ext cx="5911865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</p:grpSp>
      <p:pic>
        <p:nvPicPr>
          <p:cNvPr id="20" name="blue_tcs_logo.png">
            <a:extLst>
              <a:ext uri="{FF2B5EF4-FFF2-40B4-BE49-F238E27FC236}">
                <a16:creationId xmlns:a16="http://schemas.microsoft.com/office/drawing/2014/main" id="{BD9E3FAA-3462-8049-9360-B34E1515A7C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6285" y="582690"/>
            <a:ext cx="2012950" cy="330250"/>
          </a:xfrm>
          <a:prstGeom prst="rect">
            <a:avLst/>
          </a:prstGeom>
          <a:ln w="12700">
            <a:miter lim="400000"/>
          </a:ln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06F9CFE-4812-0A4E-BBB2-6DE85D991BEF}"/>
              </a:ext>
            </a:extLst>
          </p:cNvPr>
          <p:cNvSpPr/>
          <p:nvPr userDrawn="1"/>
        </p:nvSpPr>
        <p:spPr>
          <a:xfrm>
            <a:off x="6897510" y="6464309"/>
            <a:ext cx="511233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solidFill>
                  <a:prstClr val="white">
                    <a:lumMod val="75000"/>
                  </a:prstClr>
                </a:solidFill>
              </a:rPr>
              <a:t>TCS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58789710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Photo -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970D2D1F-F741-E643-B963-6A89F0E3338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208" y="978602"/>
            <a:ext cx="10329679" cy="285260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AB2A7EC8-B107-0148-9C8D-409E28D7B377}"/>
              </a:ext>
            </a:extLst>
          </p:cNvPr>
          <p:cNvSpPr/>
          <p:nvPr userDrawn="1"/>
        </p:nvSpPr>
        <p:spPr>
          <a:xfrm>
            <a:off x="3302837" y="2984310"/>
            <a:ext cx="45719" cy="2519753"/>
          </a:xfrm>
          <a:prstGeom prst="rect">
            <a:avLst/>
          </a:prstGeom>
          <a:gradFill>
            <a:gsLst>
              <a:gs pos="25000">
                <a:srgbClr val="D54E7B"/>
              </a:gs>
              <a:gs pos="0">
                <a:srgbClr val="F6586E"/>
              </a:gs>
              <a:gs pos="75000">
                <a:srgbClr val="923A94"/>
              </a:gs>
              <a:gs pos="50000">
                <a:srgbClr val="B34487"/>
              </a:gs>
              <a:gs pos="100000">
                <a:srgbClr val="7030A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5C041A95-6A6D-4A46-BF5D-6DE351C4E8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279" y="2824683"/>
            <a:ext cx="2670014" cy="1309818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F48440C3-3406-0241-B633-53977276CA65}"/>
              </a:ext>
            </a:extLst>
          </p:cNvPr>
          <p:cNvGrpSpPr/>
          <p:nvPr userDrawn="1"/>
        </p:nvGrpSpPr>
        <p:grpSpPr>
          <a:xfrm rot="17352789">
            <a:off x="7419145" y="540386"/>
            <a:ext cx="5149128" cy="4867749"/>
            <a:chOff x="7490499" y="4498809"/>
            <a:chExt cx="5217461" cy="4932348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5CFC6185-F8C1-4B42-85CB-63FE4D7AD2E2}"/>
                </a:ext>
              </a:extLst>
            </p:cNvPr>
            <p:cNvGrpSpPr/>
            <p:nvPr userDrawn="1"/>
          </p:nvGrpSpPr>
          <p:grpSpPr>
            <a:xfrm rot="1403782">
              <a:off x="9354263" y="6540039"/>
              <a:ext cx="3353697" cy="2891118"/>
              <a:chOff x="6145306" y="524435"/>
              <a:chExt cx="5911866" cy="5096436"/>
            </a:xfrm>
          </p:grpSpPr>
          <p:sp>
            <p:nvSpPr>
              <p:cNvPr id="16" name="Hexagon 15">
                <a:extLst>
                  <a:ext uri="{FF2B5EF4-FFF2-40B4-BE49-F238E27FC236}">
                    <a16:creationId xmlns:a16="http://schemas.microsoft.com/office/drawing/2014/main" id="{904A7E8B-8AF9-D448-A12B-F305DD22E6FD}"/>
                  </a:ext>
                </a:extLst>
              </p:cNvPr>
              <p:cNvSpPr/>
              <p:nvPr userDrawn="1"/>
            </p:nvSpPr>
            <p:spPr>
              <a:xfrm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Hexagon 16">
                <a:extLst>
                  <a:ext uri="{FF2B5EF4-FFF2-40B4-BE49-F238E27FC236}">
                    <a16:creationId xmlns:a16="http://schemas.microsoft.com/office/drawing/2014/main" id="{D4C4F206-BB4B-444B-86D2-315C6B92AA0A}"/>
                  </a:ext>
                </a:extLst>
              </p:cNvPr>
              <p:cNvSpPr/>
              <p:nvPr userDrawn="1"/>
            </p:nvSpPr>
            <p:spPr>
              <a:xfrm rot="20131641"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8" name="Hexagon 17">
                <a:extLst>
                  <a:ext uri="{FF2B5EF4-FFF2-40B4-BE49-F238E27FC236}">
                    <a16:creationId xmlns:a16="http://schemas.microsoft.com/office/drawing/2014/main" id="{725215BD-7F9C-644C-8019-BD3637E1CC76}"/>
                  </a:ext>
                </a:extLst>
              </p:cNvPr>
              <p:cNvSpPr/>
              <p:nvPr userDrawn="1"/>
            </p:nvSpPr>
            <p:spPr>
              <a:xfrm rot="19178271"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76A0798C-9276-5B48-9276-6C8A38ECB483}"/>
                </a:ext>
              </a:extLst>
            </p:cNvPr>
            <p:cNvGrpSpPr/>
            <p:nvPr userDrawn="1"/>
          </p:nvGrpSpPr>
          <p:grpSpPr>
            <a:xfrm rot="1403782">
              <a:off x="7490499" y="4498809"/>
              <a:ext cx="2735506" cy="2358195"/>
              <a:chOff x="6145306" y="524435"/>
              <a:chExt cx="5911866" cy="5096436"/>
            </a:xfrm>
          </p:grpSpPr>
          <p:sp>
            <p:nvSpPr>
              <p:cNvPr id="13" name="Hexagon 12">
                <a:extLst>
                  <a:ext uri="{FF2B5EF4-FFF2-40B4-BE49-F238E27FC236}">
                    <a16:creationId xmlns:a16="http://schemas.microsoft.com/office/drawing/2014/main" id="{0F54EAD7-17B8-3544-80BC-E8219F305565}"/>
                  </a:ext>
                </a:extLst>
              </p:cNvPr>
              <p:cNvSpPr/>
              <p:nvPr userDrawn="1"/>
            </p:nvSpPr>
            <p:spPr>
              <a:xfrm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Hexagon 13">
                <a:extLst>
                  <a:ext uri="{FF2B5EF4-FFF2-40B4-BE49-F238E27FC236}">
                    <a16:creationId xmlns:a16="http://schemas.microsoft.com/office/drawing/2014/main" id="{1D581016-AFDF-FA4E-885B-4A2237B2DD71}"/>
                  </a:ext>
                </a:extLst>
              </p:cNvPr>
              <p:cNvSpPr/>
              <p:nvPr userDrawn="1"/>
            </p:nvSpPr>
            <p:spPr>
              <a:xfrm rot="20131641"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Hexagon 14">
                <a:extLst>
                  <a:ext uri="{FF2B5EF4-FFF2-40B4-BE49-F238E27FC236}">
                    <a16:creationId xmlns:a16="http://schemas.microsoft.com/office/drawing/2014/main" id="{C730BCCF-0F90-CD4B-9CC9-ACB9660BBF9F}"/>
                  </a:ext>
                </a:extLst>
              </p:cNvPr>
              <p:cNvSpPr/>
              <p:nvPr userDrawn="1"/>
            </p:nvSpPr>
            <p:spPr>
              <a:xfrm rot="19178271"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60F8DDF-5475-CF4D-81A8-76A6F286547A}"/>
                </a:ext>
              </a:extLst>
            </p:cNvPr>
            <p:cNvGrpSpPr/>
            <p:nvPr userDrawn="1"/>
          </p:nvGrpSpPr>
          <p:grpSpPr>
            <a:xfrm rot="2695849">
              <a:off x="7908172" y="4805527"/>
              <a:ext cx="1920205" cy="1655348"/>
              <a:chOff x="6145304" y="524435"/>
              <a:chExt cx="5911868" cy="5096436"/>
            </a:xfrm>
          </p:grpSpPr>
          <p:sp>
            <p:nvSpPr>
              <p:cNvPr id="10" name="Hexagon 9">
                <a:extLst>
                  <a:ext uri="{FF2B5EF4-FFF2-40B4-BE49-F238E27FC236}">
                    <a16:creationId xmlns:a16="http://schemas.microsoft.com/office/drawing/2014/main" id="{70E107EC-09F2-F849-880B-22EAAA8EC3F1}"/>
                  </a:ext>
                </a:extLst>
              </p:cNvPr>
              <p:cNvSpPr/>
              <p:nvPr userDrawn="1"/>
            </p:nvSpPr>
            <p:spPr>
              <a:xfrm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" name="Hexagon 10">
                <a:extLst>
                  <a:ext uri="{FF2B5EF4-FFF2-40B4-BE49-F238E27FC236}">
                    <a16:creationId xmlns:a16="http://schemas.microsoft.com/office/drawing/2014/main" id="{93BF20FA-7280-874A-8FE6-D979CB9A91B4}"/>
                  </a:ext>
                </a:extLst>
              </p:cNvPr>
              <p:cNvSpPr/>
              <p:nvPr userDrawn="1"/>
            </p:nvSpPr>
            <p:spPr>
              <a:xfrm rot="20131641">
                <a:off x="6145306" y="524435"/>
                <a:ext cx="5911866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Hexagon 11">
                <a:extLst>
                  <a:ext uri="{FF2B5EF4-FFF2-40B4-BE49-F238E27FC236}">
                    <a16:creationId xmlns:a16="http://schemas.microsoft.com/office/drawing/2014/main" id="{34BF9430-F3AD-6945-9656-E34780003149}"/>
                  </a:ext>
                </a:extLst>
              </p:cNvPr>
              <p:cNvSpPr/>
              <p:nvPr userDrawn="1"/>
            </p:nvSpPr>
            <p:spPr>
              <a:xfrm rot="19178271">
                <a:off x="6145304" y="524435"/>
                <a:ext cx="5911865" cy="5096436"/>
              </a:xfrm>
              <a:prstGeom prst="hexagon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</p:grpSp>
      <p:pic>
        <p:nvPicPr>
          <p:cNvPr id="20" name="blue_tcs_logo.png">
            <a:extLst>
              <a:ext uri="{FF2B5EF4-FFF2-40B4-BE49-F238E27FC236}">
                <a16:creationId xmlns:a16="http://schemas.microsoft.com/office/drawing/2014/main" id="{BD9E3FAA-3462-8049-9360-B34E1515A7C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6285" y="582690"/>
            <a:ext cx="2012950" cy="330250"/>
          </a:xfrm>
          <a:prstGeom prst="rect">
            <a:avLst/>
          </a:prstGeom>
          <a:ln w="12700">
            <a:miter lim="400000"/>
          </a:ln>
        </p:spPr>
      </p:pic>
      <p:sp>
        <p:nvSpPr>
          <p:cNvPr id="22" name="Title 5"/>
          <p:cNvSpPr txBox="1">
            <a:spLocks/>
          </p:cNvSpPr>
          <p:nvPr userDrawn="1"/>
        </p:nvSpPr>
        <p:spPr>
          <a:xfrm>
            <a:off x="3403293" y="3889842"/>
            <a:ext cx="8788707" cy="7795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77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dirty="0">
                <a:solidFill>
                  <a:sysClr val="windowText" lastClr="000000"/>
                </a:solidFill>
                <a:latin typeface="MS London"/>
              </a:rPr>
              <a:t>Click to edit Master title style</a:t>
            </a:r>
            <a:endParaRPr lang="en-GB" dirty="0">
              <a:solidFill>
                <a:sysClr val="windowText" lastClr="000000"/>
              </a:solidFill>
              <a:latin typeface="MS London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06F9CFE-4812-0A4E-BBB2-6DE85D991BEF}"/>
              </a:ext>
            </a:extLst>
          </p:cNvPr>
          <p:cNvSpPr/>
          <p:nvPr userDrawn="1"/>
        </p:nvSpPr>
        <p:spPr>
          <a:xfrm>
            <a:off x="6897510" y="6464309"/>
            <a:ext cx="511233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solidFill>
                  <a:prstClr val="white">
                    <a:lumMod val="75000"/>
                  </a:prstClr>
                </a:solidFill>
              </a:rPr>
              <a:t>TCS-IKEA Confidential | Copyright © 2018 Tata Consultancy Services Limited</a:t>
            </a:r>
          </a:p>
        </p:txBody>
      </p:sp>
    </p:spTree>
    <p:extLst>
      <p:ext uri="{BB962C8B-B14F-4D97-AF65-F5344CB8AC3E}">
        <p14:creationId xmlns:p14="http://schemas.microsoft.com/office/powerpoint/2010/main" val="432538214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54407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5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30652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5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57589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5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13839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5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12661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5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97828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5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04271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vmlDrawing" Target="../drawings/vmlDrawing1.vml"/><Relationship Id="rId18" Type="http://schemas.microsoft.com/office/2007/relationships/hdphoto" Target="../media/hdphoto1.wdp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B61BEF0D-F0BB-DE4B-95CE-6DB70DBA9567}" type="datetimeFigureOut">
              <a:rPr lang="en-US" dirty="0"/>
              <a:pPr/>
              <a:t>8/2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155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36569" y="458153"/>
            <a:ext cx="8886944" cy="7795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336569" y="1789112"/>
            <a:ext cx="11398233" cy="42874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Slide Number Placeholder 7"/>
          <p:cNvSpPr txBox="1">
            <a:spLocks/>
          </p:cNvSpPr>
          <p:nvPr userDrawn="1"/>
        </p:nvSpPr>
        <p:spPr>
          <a:xfrm>
            <a:off x="6030146" y="6692925"/>
            <a:ext cx="457200" cy="18728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762A62E3-1D6C-4564-AD4F-F1B14AC41945}" type="slidenum">
              <a:rPr lang="en-GB" sz="1000" b="1" smtClean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</a:rPr>
              <a:pPr algn="ctr"/>
              <a:t>‹#›</a:t>
            </a:fld>
            <a:endParaRPr lang="en-GB" b="1" dirty="0">
              <a:solidFill>
                <a:prstClr val="black">
                  <a:lumMod val="65000"/>
                  <a:lumOff val="35000"/>
                </a:prstClr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949971" y="6662830"/>
            <a:ext cx="2165511" cy="14366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r">
              <a:lnSpc>
                <a:spcPct val="115000"/>
              </a:lnSpc>
            </a:pPr>
            <a:r>
              <a:rPr lang="en-GB" sz="990" b="1" i="1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CS CONFIDENTIAL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23869" y="266700"/>
            <a:ext cx="7092933" cy="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E9B0EFB5-00BC-4A14-9F60-BCF4288EC3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print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336"/>
          <a:stretch/>
        </p:blipFill>
        <p:spPr>
          <a:xfrm>
            <a:off x="10163823" y="260653"/>
            <a:ext cx="1525204" cy="195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258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</p:sldLayoutIdLst>
  <p:hf hdr="0" ftr="0" dt="0"/>
  <p:txStyles>
    <p:titleStyle>
      <a:lvl1pPr algn="l" defTabSz="685773" rtl="0" eaLnBrk="1" latinLnBrk="0" hangingPunct="1">
        <a:lnSpc>
          <a:spcPct val="90000"/>
        </a:lnSpc>
        <a:spcBef>
          <a:spcPct val="0"/>
        </a:spcBef>
        <a:buNone/>
        <a:defRPr sz="3200" b="1" kern="1200" cap="none" baseline="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71443" indent="-171443" algn="l" defTabSz="685773" rtl="0" eaLnBrk="1" latinLnBrk="0" hangingPunct="1">
        <a:lnSpc>
          <a:spcPct val="100000"/>
        </a:lnSpc>
        <a:spcBef>
          <a:spcPts val="750"/>
        </a:spcBef>
        <a:buFont typeface="Wingdings" panose="05000000000000000000" pitchFamily="2" charset="2"/>
        <a:buChar char="§"/>
        <a:defRPr sz="21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14329" indent="-171443" algn="l" defTabSz="685773" rtl="0" eaLnBrk="1" latinLnBrk="0" hangingPunct="1">
        <a:lnSpc>
          <a:spcPct val="100000"/>
        </a:lnSpc>
        <a:spcBef>
          <a:spcPts val="375"/>
        </a:spcBef>
        <a:buFont typeface="Wingdings" panose="05000000000000000000" pitchFamily="2" charset="2"/>
        <a:buChar char="§"/>
        <a:defRPr sz="1800" strike="noStrike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857216" indent="-171443" algn="l" defTabSz="685773" rtl="0" eaLnBrk="1" latinLnBrk="0" hangingPunct="1">
        <a:lnSpc>
          <a:spcPct val="100000"/>
        </a:lnSpc>
        <a:spcBef>
          <a:spcPts val="375"/>
        </a:spcBef>
        <a:buFont typeface="Wingdings" panose="05000000000000000000" pitchFamily="2" charset="2"/>
        <a:buChar char="§"/>
        <a:defRPr sz="15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200102" indent="-171443" algn="l" defTabSz="685773" rtl="0" eaLnBrk="1" latinLnBrk="0" hangingPunct="1">
        <a:lnSpc>
          <a:spcPct val="100000"/>
        </a:lnSpc>
        <a:spcBef>
          <a:spcPts val="375"/>
        </a:spcBef>
        <a:buFont typeface="Wingdings" panose="05000000000000000000" pitchFamily="2" charset="2"/>
        <a:buChar char="§"/>
        <a:defRPr sz="135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542988" indent="-171443" algn="l" defTabSz="685773" rtl="0" eaLnBrk="1" latinLnBrk="0" hangingPunct="1">
        <a:lnSpc>
          <a:spcPct val="100000"/>
        </a:lnSpc>
        <a:spcBef>
          <a:spcPts val="375"/>
        </a:spcBef>
        <a:buFont typeface="Wingdings" panose="05000000000000000000" pitchFamily="2" charset="2"/>
        <a:buChar char="§"/>
        <a:defRPr sz="135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885875" indent="-171443" algn="l" defTabSz="68577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61" indent="-171443" algn="l" defTabSz="68577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47" indent="-171443" algn="l" defTabSz="68577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33" indent="-171443" algn="l" defTabSz="68577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3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59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45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31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18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04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90" algn="l" defTabSz="6857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10000">
              <a:schemeClr val="bg2">
                <a:tint val="97000"/>
                <a:hueMod val="92000"/>
                <a:satMod val="169000"/>
                <a:lumMod val="164000"/>
              </a:schemeClr>
            </a:gs>
            <a:gs pos="100000">
              <a:schemeClr val="bg2">
                <a:shade val="96000"/>
                <a:satMod val="120000"/>
                <a:lumMod val="90000"/>
              </a:schemeClr>
            </a:gs>
          </a:gsLst>
          <a:lin ang="612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>
            <a:extLst>
              <a:ext uri="{FF2B5EF4-FFF2-40B4-BE49-F238E27FC236}">
                <a16:creationId xmlns:a16="http://schemas.microsoft.com/office/drawing/2014/main" id="{FEB90296-CFE0-401D-9CA3-32966EC4F0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>
            <a:extLst>
              <a:ext uri="{FF2B5EF4-FFF2-40B4-BE49-F238E27FC236}">
                <a16:creationId xmlns:a16="http://schemas.microsoft.com/office/drawing/2014/main" id="{08C9B4EE-7611-4ED9-B356-7BDD377C39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1">
            <a:extLst>
              <a:ext uri="{FF2B5EF4-FFF2-40B4-BE49-F238E27FC236}">
                <a16:creationId xmlns:a16="http://schemas.microsoft.com/office/drawing/2014/main" id="{4A4F266A-F2F7-47CD-8BBC-E3777E982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13">
            <a:extLst>
              <a:ext uri="{FF2B5EF4-FFF2-40B4-BE49-F238E27FC236}">
                <a16:creationId xmlns:a16="http://schemas.microsoft.com/office/drawing/2014/main" id="{20D69C80-8919-4A32-B897-F2A21F940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5">
            <a:extLst>
              <a:ext uri="{FF2B5EF4-FFF2-40B4-BE49-F238E27FC236}">
                <a16:creationId xmlns:a16="http://schemas.microsoft.com/office/drawing/2014/main" id="{F427B072-CC5B-481B-9719-8CD4C54444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 useBgFill="1">
        <p:nvSpPr>
          <p:cNvPr id="13" name="Rectangle 17">
            <a:extLst>
              <a:ext uri="{FF2B5EF4-FFF2-40B4-BE49-F238E27FC236}">
                <a16:creationId xmlns:a16="http://schemas.microsoft.com/office/drawing/2014/main" id="{4609862E-48F9-45AC-8D44-67A0268A79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9F9B067-9772-49B1-AB1E-E1731A195738}"/>
              </a:ext>
            </a:extLst>
          </p:cNvPr>
          <p:cNvSpPr txBox="1"/>
          <p:nvPr/>
        </p:nvSpPr>
        <p:spPr>
          <a:xfrm>
            <a:off x="4546886" y="1198417"/>
            <a:ext cx="7077667" cy="4380058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defTabSz="457200">
              <a:spcBef>
                <a:spcPct val="0"/>
              </a:spcBef>
              <a:spcAft>
                <a:spcPts val="600"/>
              </a:spcAft>
            </a:pPr>
            <a:r>
              <a:rPr lang="en-US" sz="2800" b="1" cap="all" dirty="0">
                <a:ln w="3175" cmpd="sng">
                  <a:noFill/>
                </a:ln>
                <a:latin typeface="+mj-lt"/>
                <a:ea typeface="+mj-ea"/>
                <a:cs typeface="+mj-cs"/>
              </a:rPr>
              <a:t>    CI/CD Architecture</a:t>
            </a:r>
            <a:r>
              <a:rPr lang="en-US" sz="2800" cap="all" dirty="0">
                <a:ln w="3175" cmpd="sng">
                  <a:noFill/>
                </a:ln>
                <a:latin typeface="+mj-lt"/>
                <a:ea typeface="+mj-ea"/>
                <a:cs typeface="+mj-cs"/>
              </a:rPr>
              <a:t>​</a:t>
            </a:r>
          </a:p>
        </p:txBody>
      </p:sp>
      <p:cxnSp>
        <p:nvCxnSpPr>
          <p:cNvPr id="15" name="Straight Connector 19">
            <a:extLst>
              <a:ext uri="{FF2B5EF4-FFF2-40B4-BE49-F238E27FC236}">
                <a16:creationId xmlns:a16="http://schemas.microsoft.com/office/drawing/2014/main" id="{ABEC335A-D1CD-4687-AB54-7E9FEC72BC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59935" y="1532691"/>
            <a:ext cx="0" cy="3198892"/>
          </a:xfrm>
          <a:prstGeom prst="line">
            <a:avLst/>
          </a:prstGeom>
          <a:ln w="19050">
            <a:solidFill>
              <a:schemeClr val="tx1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0248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CA70B97-CD1C-458A-94E4-604C45B7D8E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428" y="1039515"/>
            <a:ext cx="944012" cy="579144"/>
          </a:xfrm>
          <a:prstGeom prst="rect">
            <a:avLst/>
          </a:prstGeom>
        </p:spPr>
      </p:pic>
      <p:sp>
        <p:nvSpPr>
          <p:cNvPr id="5" name="Pentagon 72">
            <a:extLst>
              <a:ext uri="{FF2B5EF4-FFF2-40B4-BE49-F238E27FC236}">
                <a16:creationId xmlns:a16="http://schemas.microsoft.com/office/drawing/2014/main" id="{18C0C66D-F080-445D-9B40-ED619F508655}"/>
              </a:ext>
            </a:extLst>
          </p:cNvPr>
          <p:cNvSpPr/>
          <p:nvPr/>
        </p:nvSpPr>
        <p:spPr>
          <a:xfrm>
            <a:off x="4610989" y="2169061"/>
            <a:ext cx="7068123" cy="4246338"/>
          </a:xfrm>
          <a:prstGeom prst="homePlate">
            <a:avLst>
              <a:gd name="adj" fmla="val 13189"/>
            </a:avLst>
          </a:prstGeom>
          <a:solidFill>
            <a:schemeClr val="bg2"/>
          </a:solidFill>
          <a:ln w="22225" cmpd="dbl">
            <a:solidFill>
              <a:srgbClr val="0070C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ounded Rectangle 54">
            <a:extLst>
              <a:ext uri="{FF2B5EF4-FFF2-40B4-BE49-F238E27FC236}">
                <a16:creationId xmlns:a16="http://schemas.microsoft.com/office/drawing/2014/main" id="{359ED9D9-8DF8-450A-BD9F-B9962D561CFF}"/>
              </a:ext>
            </a:extLst>
          </p:cNvPr>
          <p:cNvSpPr/>
          <p:nvPr/>
        </p:nvSpPr>
        <p:spPr>
          <a:xfrm>
            <a:off x="4747042" y="2550592"/>
            <a:ext cx="6368733" cy="3881893"/>
          </a:xfrm>
          <a:prstGeom prst="roundRect">
            <a:avLst/>
          </a:prstGeom>
          <a:solidFill>
            <a:schemeClr val="accent4">
              <a:lumMod val="60000"/>
              <a:lumOff val="40000"/>
              <a:alpha val="27000"/>
            </a:schemeClr>
          </a:solidFill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29160C1-23F6-40BA-B39D-E26DAA14304F}"/>
              </a:ext>
            </a:extLst>
          </p:cNvPr>
          <p:cNvSpPr/>
          <p:nvPr/>
        </p:nvSpPr>
        <p:spPr>
          <a:xfrm>
            <a:off x="5177835" y="3230519"/>
            <a:ext cx="4991562" cy="1867417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  <a:ln w="9525">
            <a:solidFill>
              <a:srgbClr val="00B0F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GB" sz="13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70C922F-B6AE-4DF9-9E04-024C7A67E09B}"/>
              </a:ext>
            </a:extLst>
          </p:cNvPr>
          <p:cNvSpPr/>
          <p:nvPr/>
        </p:nvSpPr>
        <p:spPr>
          <a:xfrm>
            <a:off x="5062125" y="3146599"/>
            <a:ext cx="5412885" cy="2120485"/>
          </a:xfrm>
          <a:prstGeom prst="rect">
            <a:avLst/>
          </a:prstGeom>
          <a:noFill/>
          <a:ln w="9525">
            <a:solidFill>
              <a:srgbClr val="00B0F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GB" sz="13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" name="Rounded Rectangle 66">
            <a:extLst>
              <a:ext uri="{FF2B5EF4-FFF2-40B4-BE49-F238E27FC236}">
                <a16:creationId xmlns:a16="http://schemas.microsoft.com/office/drawing/2014/main" id="{097752DE-FD9D-493E-83DB-A1EF75748754}"/>
              </a:ext>
            </a:extLst>
          </p:cNvPr>
          <p:cNvSpPr/>
          <p:nvPr/>
        </p:nvSpPr>
        <p:spPr>
          <a:xfrm>
            <a:off x="8374984" y="3235639"/>
            <a:ext cx="1817196" cy="320920"/>
          </a:xfrm>
          <a:prstGeom prst="round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300" b="1" dirty="0"/>
              <a:t>Kubernetes Cluster</a:t>
            </a:r>
          </a:p>
        </p:txBody>
      </p:sp>
      <p:pic>
        <p:nvPicPr>
          <p:cNvPr id="15" name="Picture 2" descr="Related image">
            <a:extLst>
              <a:ext uri="{FF2B5EF4-FFF2-40B4-BE49-F238E27FC236}">
                <a16:creationId xmlns:a16="http://schemas.microsoft.com/office/drawing/2014/main" id="{68C96D2F-B983-4A6F-8557-7D953EEC65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4151" y="3789363"/>
            <a:ext cx="662005" cy="822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8A4E732C-1C4D-4E42-A739-A77C0C20A6EB}"/>
              </a:ext>
            </a:extLst>
          </p:cNvPr>
          <p:cNvSpPr/>
          <p:nvPr/>
        </p:nvSpPr>
        <p:spPr>
          <a:xfrm>
            <a:off x="5062125" y="5272691"/>
            <a:ext cx="5412885" cy="1030438"/>
          </a:xfrm>
          <a:prstGeom prst="rect">
            <a:avLst/>
          </a:prstGeom>
          <a:noFill/>
          <a:ln w="9525">
            <a:solidFill>
              <a:srgbClr val="00B0F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GB" sz="1350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2D4F7DF-1348-4A48-A0E1-C2A34BD2888F}"/>
              </a:ext>
            </a:extLst>
          </p:cNvPr>
          <p:cNvGrpSpPr/>
          <p:nvPr/>
        </p:nvGrpSpPr>
        <p:grpSpPr>
          <a:xfrm>
            <a:off x="8902151" y="5378962"/>
            <a:ext cx="1005840" cy="823619"/>
            <a:chOff x="5450827" y="5224610"/>
            <a:chExt cx="1005840" cy="823619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F516C0AE-6A25-4CCE-9D8F-6FC08693BEF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25147" y="5224610"/>
              <a:ext cx="457200" cy="457200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EE001200-C356-4DAF-BBE7-E3B962F6AFDA}"/>
                </a:ext>
              </a:extLst>
            </p:cNvPr>
            <p:cNvSpPr txBox="1"/>
            <p:nvPr/>
          </p:nvSpPr>
          <p:spPr>
            <a:xfrm>
              <a:off x="5450827" y="5773909"/>
              <a:ext cx="1005840" cy="2743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en-US"/>
              </a:defPPr>
              <a:lvl1pPr defTabSz="914377">
                <a:defRPr sz="1200">
                  <a:solidFill>
                    <a:srgbClr val="0070C0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dirty="0">
                  <a:solidFill>
                    <a:schemeClr val="bg1"/>
                  </a:solidFill>
                </a:rPr>
                <a:t>Azure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Monitoring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795B4DB-C50F-4F46-9F3D-0CD4C6500C2B}"/>
              </a:ext>
            </a:extLst>
          </p:cNvPr>
          <p:cNvGrpSpPr/>
          <p:nvPr/>
        </p:nvGrpSpPr>
        <p:grpSpPr>
          <a:xfrm>
            <a:off x="5181941" y="5526015"/>
            <a:ext cx="906087" cy="772184"/>
            <a:chOff x="3891849" y="5224610"/>
            <a:chExt cx="906087" cy="772184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3034E82E-C2CB-4FA6-826F-81404DDFDC1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60875" y="5224610"/>
              <a:ext cx="457200" cy="4572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0C761D5-72B5-40B9-BD5F-D565BC84B4B7}"/>
                </a:ext>
              </a:extLst>
            </p:cNvPr>
            <p:cNvSpPr/>
            <p:nvPr/>
          </p:nvSpPr>
          <p:spPr>
            <a:xfrm>
              <a:off x="3891849" y="5769926"/>
              <a:ext cx="906087" cy="226868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defTabSz="914377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Azure AD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5352C09-8C68-4AC5-98D5-CAE4338FEF45}"/>
              </a:ext>
            </a:extLst>
          </p:cNvPr>
          <p:cNvGrpSpPr/>
          <p:nvPr/>
        </p:nvGrpSpPr>
        <p:grpSpPr>
          <a:xfrm>
            <a:off x="7731389" y="5405699"/>
            <a:ext cx="1005840" cy="823619"/>
            <a:chOff x="6441297" y="5224610"/>
            <a:chExt cx="1005840" cy="823619"/>
          </a:xfrm>
        </p:grpSpPr>
        <p:pic>
          <p:nvPicPr>
            <p:cNvPr id="27" name="Picture 8" descr="Image result for azure container registry logo">
              <a:extLst>
                <a:ext uri="{FF2B5EF4-FFF2-40B4-BE49-F238E27FC236}">
                  <a16:creationId xmlns:a16="http://schemas.microsoft.com/office/drawing/2014/main" id="{ECAFD026-B4E1-4423-A349-CD9907345D3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41101" y="5224610"/>
              <a:ext cx="606233" cy="457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C4BFBB8C-177B-4A7C-816C-EF6474FEABFA}"/>
                </a:ext>
              </a:extLst>
            </p:cNvPr>
            <p:cNvSpPr txBox="1"/>
            <p:nvPr/>
          </p:nvSpPr>
          <p:spPr>
            <a:xfrm>
              <a:off x="6441297" y="5773909"/>
              <a:ext cx="1005840" cy="2743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en-US"/>
              </a:defPPr>
              <a:lvl1pPr defTabSz="914377">
                <a:defRPr sz="1200">
                  <a:solidFill>
                    <a:srgbClr val="0070C0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dirty="0">
                  <a:solidFill>
                    <a:schemeClr val="bg1"/>
                  </a:solidFill>
                </a:rPr>
                <a:t>Container Registry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52A1CAF-D01E-4623-9DCC-A3F9D1AF3271}"/>
              </a:ext>
            </a:extLst>
          </p:cNvPr>
          <p:cNvGrpSpPr/>
          <p:nvPr/>
        </p:nvGrpSpPr>
        <p:grpSpPr>
          <a:xfrm>
            <a:off x="7524420" y="3911015"/>
            <a:ext cx="1252872" cy="500893"/>
            <a:chOff x="5323676" y="4843198"/>
            <a:chExt cx="1252872" cy="491598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7C05428A-387B-41BA-A66C-DD9D9330021D}"/>
                </a:ext>
              </a:extLst>
            </p:cNvPr>
            <p:cNvSpPr/>
            <p:nvPr/>
          </p:nvSpPr>
          <p:spPr>
            <a:xfrm>
              <a:off x="5399311" y="4843199"/>
              <a:ext cx="1097280" cy="454516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6350">
              <a:solidFill>
                <a:srgbClr val="00AA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0" rIns="91440" bIns="0"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00AAB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D3ACDBF-D1D5-4BCD-BEA7-8F62B7F41C80}"/>
                </a:ext>
              </a:extLst>
            </p:cNvPr>
            <p:cNvCxnSpPr/>
            <p:nvPr/>
          </p:nvCxnSpPr>
          <p:spPr>
            <a:xfrm>
              <a:off x="5506556" y="4843198"/>
              <a:ext cx="0" cy="4572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A0EC2280-142E-430D-9052-F1785C491D41}"/>
                </a:ext>
              </a:extLst>
            </p:cNvPr>
            <p:cNvSpPr/>
            <p:nvPr/>
          </p:nvSpPr>
          <p:spPr>
            <a:xfrm>
              <a:off x="5323676" y="4924062"/>
              <a:ext cx="182880" cy="10972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00AA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" tIns="0" rIns="182880" bIns="0" rtlCol="0" anchor="ctr"/>
            <a:lstStyle/>
            <a:p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AAB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3C8BBF5F-D898-4AB4-B070-ECF37B449483}"/>
                </a:ext>
              </a:extLst>
            </p:cNvPr>
            <p:cNvSpPr/>
            <p:nvPr/>
          </p:nvSpPr>
          <p:spPr>
            <a:xfrm>
              <a:off x="5323676" y="5120004"/>
              <a:ext cx="182880" cy="10972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00AA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" tIns="0" rIns="182880" bIns="0" rtlCol="0" anchor="ctr"/>
            <a:lstStyle/>
            <a:p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AAB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64C4450C-62DB-4145-BCBD-1FED5FD44472}"/>
                </a:ext>
              </a:extLst>
            </p:cNvPr>
            <p:cNvSpPr/>
            <p:nvPr/>
          </p:nvSpPr>
          <p:spPr>
            <a:xfrm>
              <a:off x="5359206" y="4919298"/>
              <a:ext cx="1217342" cy="415498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en-GB" sz="1050" b="1" dirty="0">
                  <a:cs typeface="Calibri"/>
                </a:rPr>
                <a:t>Host Name</a:t>
              </a:r>
            </a:p>
            <a:p>
              <a:pPr algn="ctr"/>
              <a:r>
                <a:rPr lang="en-GB" sz="1050" b="1" dirty="0">
                  <a:cs typeface="Calibri"/>
                </a:rPr>
                <a:t>pod</a:t>
              </a:r>
              <a:endParaRPr lang="en-GB" sz="1050" b="1" dirty="0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CD71ED7A-1C68-4CFC-BD51-CB903A78A852}"/>
              </a:ext>
            </a:extLst>
          </p:cNvPr>
          <p:cNvGrpSpPr/>
          <p:nvPr/>
        </p:nvGrpSpPr>
        <p:grpSpPr>
          <a:xfrm>
            <a:off x="5832695" y="3953376"/>
            <a:ext cx="1335215" cy="509940"/>
            <a:chOff x="5323676" y="4843198"/>
            <a:chExt cx="1335215" cy="50994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8BA3487F-A8C9-4993-A793-365F9BBB8A30}"/>
                </a:ext>
              </a:extLst>
            </p:cNvPr>
            <p:cNvSpPr/>
            <p:nvPr/>
          </p:nvSpPr>
          <p:spPr>
            <a:xfrm>
              <a:off x="5399311" y="4843199"/>
              <a:ext cx="1097280" cy="454516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6350">
              <a:solidFill>
                <a:srgbClr val="00AA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0" rIns="91440" bIns="0"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00AAB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1373AB57-D336-4BB9-828E-1601AD1BEB6D}"/>
                </a:ext>
              </a:extLst>
            </p:cNvPr>
            <p:cNvCxnSpPr/>
            <p:nvPr/>
          </p:nvCxnSpPr>
          <p:spPr>
            <a:xfrm>
              <a:off x="5506556" y="4843198"/>
              <a:ext cx="0" cy="4572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46D47FD8-F94C-4910-9DDA-1D258C1DA9C3}"/>
                </a:ext>
              </a:extLst>
            </p:cNvPr>
            <p:cNvSpPr/>
            <p:nvPr/>
          </p:nvSpPr>
          <p:spPr>
            <a:xfrm>
              <a:off x="5323676" y="4924062"/>
              <a:ext cx="182880" cy="10972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00AA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" tIns="0" rIns="182880" bIns="0" rtlCol="0" anchor="ctr"/>
            <a:lstStyle/>
            <a:p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AAB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DF0B7B9F-BE62-4741-955C-10CD608090FC}"/>
                </a:ext>
              </a:extLst>
            </p:cNvPr>
            <p:cNvSpPr/>
            <p:nvPr/>
          </p:nvSpPr>
          <p:spPr>
            <a:xfrm>
              <a:off x="5323676" y="5120004"/>
              <a:ext cx="182880" cy="10972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00AA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" tIns="0" rIns="182880" bIns="0" rtlCol="0" anchor="ctr"/>
            <a:lstStyle/>
            <a:p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00AAB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DBF64FD4-9377-4DFE-B5F6-46E48A175A52}"/>
                </a:ext>
              </a:extLst>
            </p:cNvPr>
            <p:cNvSpPr/>
            <p:nvPr/>
          </p:nvSpPr>
          <p:spPr>
            <a:xfrm>
              <a:off x="5441549" y="4937640"/>
              <a:ext cx="1217342" cy="415498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en-GB" sz="1050" b="1" dirty="0"/>
                <a:t>Host Name Service</a:t>
              </a:r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1D7ADC3F-BFD4-4B7D-BB54-A69404B6AE62}"/>
              </a:ext>
            </a:extLst>
          </p:cNvPr>
          <p:cNvSpPr/>
          <p:nvPr/>
        </p:nvSpPr>
        <p:spPr>
          <a:xfrm>
            <a:off x="6811340" y="5900260"/>
            <a:ext cx="873394" cy="27699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 defTabSz="914377">
              <a:defRPr/>
            </a:pPr>
            <a:endParaRPr lang="en-US" sz="1200" b="1">
              <a:cs typeface="Calibri"/>
            </a:endParaRPr>
          </a:p>
        </p:txBody>
      </p:sp>
      <p:sp>
        <p:nvSpPr>
          <p:cNvPr id="47" name="Rounded Rectangle 66">
            <a:extLst>
              <a:ext uri="{FF2B5EF4-FFF2-40B4-BE49-F238E27FC236}">
                <a16:creationId xmlns:a16="http://schemas.microsoft.com/office/drawing/2014/main" id="{E3ECEB52-D221-4D78-8B0C-5112678969EC}"/>
              </a:ext>
            </a:extLst>
          </p:cNvPr>
          <p:cNvSpPr/>
          <p:nvPr/>
        </p:nvSpPr>
        <p:spPr>
          <a:xfrm>
            <a:off x="6154624" y="6037547"/>
            <a:ext cx="1371648" cy="306467"/>
          </a:xfrm>
          <a:prstGeom prst="round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 defTabSz="914377"/>
            <a:r>
              <a:rPr lang="en-US" sz="1200" b="1" dirty="0">
                <a:solidFill>
                  <a:schemeClr val="bg1"/>
                </a:solidFill>
              </a:rPr>
              <a:t>Linux Utility Box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C87BDE68-CAB7-4BC1-ABF1-7ECBAC9C5641}"/>
              </a:ext>
            </a:extLst>
          </p:cNvPr>
          <p:cNvSpPr txBox="1"/>
          <p:nvPr/>
        </p:nvSpPr>
        <p:spPr>
          <a:xfrm>
            <a:off x="5145768" y="2717119"/>
            <a:ext cx="5706427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</a:rPr>
              <a:t>Vnet with subnets configured &amp; Defined Azure network security groups </a:t>
            </a:r>
            <a:endParaRPr lang="en-US" sz="1400" b="1">
              <a:solidFill>
                <a:schemeClr val="accent1"/>
              </a:solidFill>
              <a:cs typeface="Calibri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C55A5435-1055-4918-A487-368FA7AFE457}"/>
              </a:ext>
            </a:extLst>
          </p:cNvPr>
          <p:cNvSpPr txBox="1"/>
          <p:nvPr/>
        </p:nvSpPr>
        <p:spPr>
          <a:xfrm>
            <a:off x="11062698" y="3192899"/>
            <a:ext cx="400110" cy="2324971"/>
          </a:xfrm>
          <a:prstGeom prst="rect">
            <a:avLst/>
          </a:prstGeom>
          <a:noFill/>
        </p:spPr>
        <p:txBody>
          <a:bodyPr vert="vert270" wrap="square" lIns="91440" tIns="45720" rIns="91440" bIns="45720" rtlCol="0" anchor="t">
            <a:spAutoFit/>
          </a:bodyPr>
          <a:lstStyle/>
          <a:p>
            <a:r>
              <a:rPr lang="en-US" sz="1400" b="1" dirty="0">
                <a:solidFill>
                  <a:srgbClr val="00B0F0"/>
                </a:solidFill>
              </a:rPr>
              <a:t>Azure Resource Group</a:t>
            </a:r>
            <a:endParaRPr lang="en-US" sz="1400" b="1" dirty="0">
              <a:solidFill>
                <a:srgbClr val="00B0F0"/>
              </a:solidFill>
              <a:cs typeface="Calibri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3897DDF-1E4A-4591-B38D-08B54B0BB558}"/>
              </a:ext>
            </a:extLst>
          </p:cNvPr>
          <p:cNvSpPr txBox="1"/>
          <p:nvPr/>
        </p:nvSpPr>
        <p:spPr>
          <a:xfrm>
            <a:off x="9730515" y="2716459"/>
            <a:ext cx="461665" cy="1842013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en-US" dirty="0">
                <a:solidFill>
                  <a:srgbClr val="00B0F0"/>
                </a:solidFill>
              </a:rPr>
              <a:t>PODs</a:t>
            </a: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27A058DE-3169-4BD0-A714-08769386B7B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6482" y="5408598"/>
            <a:ext cx="594871" cy="594871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7EAE7349-C641-48CF-84A4-7FC260E34338}"/>
              </a:ext>
            </a:extLst>
          </p:cNvPr>
          <p:cNvSpPr txBox="1"/>
          <p:nvPr/>
        </p:nvSpPr>
        <p:spPr>
          <a:xfrm>
            <a:off x="286083" y="1609558"/>
            <a:ext cx="737937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200" b="1" dirty="0"/>
              <a:t>DevOps</a:t>
            </a:r>
            <a:endParaRPr lang="en-US" sz="1200" b="1">
              <a:cs typeface="Calibri"/>
            </a:endParaRPr>
          </a:p>
        </p:txBody>
      </p:sp>
      <p:pic>
        <p:nvPicPr>
          <p:cNvPr id="59" name="Picture 9" descr="A picture containing table&#10;&#10;Description automatically generated">
            <a:extLst>
              <a:ext uri="{FF2B5EF4-FFF2-40B4-BE49-F238E27FC236}">
                <a16:creationId xmlns:a16="http://schemas.microsoft.com/office/drawing/2014/main" id="{B9B8B56D-790F-4364-9FC8-67E5C464AE6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27396" y="804277"/>
            <a:ext cx="2231524" cy="944814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75CB06C0-5577-4059-AA61-C67CFFCC40AE}"/>
              </a:ext>
            </a:extLst>
          </p:cNvPr>
          <p:cNvSpPr txBox="1"/>
          <p:nvPr/>
        </p:nvSpPr>
        <p:spPr>
          <a:xfrm>
            <a:off x="1419057" y="911058"/>
            <a:ext cx="844884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b="1" dirty="0"/>
              <a:t>PUSH</a:t>
            </a:r>
            <a:endParaRPr lang="en-US" b="1" dirty="0">
              <a:cs typeface="Calibri"/>
            </a:endParaRPr>
          </a:p>
        </p:txBody>
      </p:sp>
      <p:sp>
        <p:nvSpPr>
          <p:cNvPr id="63" name="Arrow: Bent 62">
            <a:extLst>
              <a:ext uri="{FF2B5EF4-FFF2-40B4-BE49-F238E27FC236}">
                <a16:creationId xmlns:a16="http://schemas.microsoft.com/office/drawing/2014/main" id="{A9D604F3-BC6F-4017-B7C6-7833F5EF39C2}"/>
              </a:ext>
            </a:extLst>
          </p:cNvPr>
          <p:cNvSpPr/>
          <p:nvPr/>
        </p:nvSpPr>
        <p:spPr>
          <a:xfrm rot="5400000">
            <a:off x="5995727" y="293405"/>
            <a:ext cx="721896" cy="2740523"/>
          </a:xfrm>
          <a:prstGeom prst="ben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5" name="Arrow: Left 64">
            <a:extLst>
              <a:ext uri="{FF2B5EF4-FFF2-40B4-BE49-F238E27FC236}">
                <a16:creationId xmlns:a16="http://schemas.microsoft.com/office/drawing/2014/main" id="{A581CB65-DE41-4A4D-A188-C202725A5A7F}"/>
              </a:ext>
            </a:extLst>
          </p:cNvPr>
          <p:cNvSpPr/>
          <p:nvPr/>
        </p:nvSpPr>
        <p:spPr>
          <a:xfrm>
            <a:off x="3964151" y="5915513"/>
            <a:ext cx="574842" cy="240632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2BF2866D-8984-48A1-88A4-CBCEFD6E2D6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8690" y="5705094"/>
            <a:ext cx="944012" cy="579144"/>
          </a:xfrm>
          <a:prstGeom prst="rect">
            <a:avLst/>
          </a:prstGeom>
        </p:spPr>
      </p:pic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386EC7AF-B2B1-44AC-9FF0-22BF5DF6D805}"/>
              </a:ext>
            </a:extLst>
          </p:cNvPr>
          <p:cNvCxnSpPr/>
          <p:nvPr/>
        </p:nvCxnSpPr>
        <p:spPr>
          <a:xfrm>
            <a:off x="1117767" y="1365082"/>
            <a:ext cx="1449137" cy="53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F9DD3601-1CA1-44C8-8453-1FF28F535065}"/>
              </a:ext>
            </a:extLst>
          </p:cNvPr>
          <p:cNvSpPr txBox="1"/>
          <p:nvPr/>
        </p:nvSpPr>
        <p:spPr>
          <a:xfrm>
            <a:off x="3220453" y="6241716"/>
            <a:ext cx="1032043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200" b="1" dirty="0">
                <a:cs typeface="Calibri"/>
              </a:rPr>
              <a:t>Client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72DA8473-EA21-498B-AB5A-41D5051105BC}"/>
              </a:ext>
            </a:extLst>
          </p:cNvPr>
          <p:cNvSpPr txBox="1"/>
          <p:nvPr/>
        </p:nvSpPr>
        <p:spPr>
          <a:xfrm>
            <a:off x="3831223" y="5448802"/>
            <a:ext cx="844885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sz="1200" dirty="0">
              <a:cs typeface="Calibri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35B1783-D21F-4D84-9DD8-567363C36918}"/>
              </a:ext>
            </a:extLst>
          </p:cNvPr>
          <p:cNvSpPr txBox="1"/>
          <p:nvPr/>
        </p:nvSpPr>
        <p:spPr>
          <a:xfrm>
            <a:off x="3837497" y="5271806"/>
            <a:ext cx="848287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 b="1" dirty="0"/>
              <a:t>Using External     IP</a:t>
            </a:r>
            <a:endParaRPr lang="en-US" sz="1200" b="1" dirty="0">
              <a:cs typeface="Calibri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ADC1366B-6BE0-4E1B-9E20-5DF31A651FA5}"/>
              </a:ext>
            </a:extLst>
          </p:cNvPr>
          <p:cNvSpPr txBox="1"/>
          <p:nvPr/>
        </p:nvSpPr>
        <p:spPr>
          <a:xfrm>
            <a:off x="293604" y="2285499"/>
            <a:ext cx="3585410" cy="2462213"/>
          </a:xfrm>
          <a:prstGeom prst="rect">
            <a:avLst/>
          </a:prstGeom>
          <a:solidFill>
            <a:schemeClr val="bg2"/>
          </a:solidFill>
          <a:ln>
            <a:solidFill>
              <a:schemeClr val="accent2">
                <a:lumMod val="20000"/>
                <a:lumOff val="80000"/>
              </a:schemeClr>
            </a:solidFill>
            <a:prstDash val="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Wingdings"/>
              <a:buChar char="Ø"/>
            </a:pPr>
            <a:r>
              <a:rPr lang="en-US" sz="1400" dirty="0" err="1">
                <a:solidFill>
                  <a:srgbClr val="002060"/>
                </a:solidFill>
                <a:cs typeface="Calibri"/>
              </a:rPr>
              <a:t>Deveopers</a:t>
            </a:r>
            <a:r>
              <a:rPr lang="en-US" sz="1400" dirty="0">
                <a:solidFill>
                  <a:srgbClr val="002060"/>
                </a:solidFill>
                <a:cs typeface="Calibri"/>
              </a:rPr>
              <a:t> push the code GitHub</a:t>
            </a:r>
          </a:p>
          <a:p>
            <a:pPr marL="285750" indent="-285750">
              <a:buFont typeface="Wingdings"/>
              <a:buChar char="Ø"/>
            </a:pPr>
            <a:r>
              <a:rPr lang="en-US" sz="1400" dirty="0">
                <a:solidFill>
                  <a:srgbClr val="002060"/>
                </a:solidFill>
                <a:cs typeface="Calibri"/>
              </a:rPr>
              <a:t>GitHub actions triggers the workflow actions based on commit.</a:t>
            </a:r>
          </a:p>
          <a:p>
            <a:pPr marL="285750" indent="-285750">
              <a:buFont typeface="Wingdings"/>
              <a:buChar char="Ø"/>
            </a:pPr>
            <a:r>
              <a:rPr lang="en-US" sz="1400" dirty="0">
                <a:solidFill>
                  <a:srgbClr val="002060"/>
                </a:solidFill>
                <a:cs typeface="Calibri"/>
              </a:rPr>
              <a:t>Below actions has been triggers.</a:t>
            </a:r>
          </a:p>
          <a:p>
            <a:pPr marL="742950" lvl="1" indent="-285750">
              <a:buFont typeface="Wingdings"/>
              <a:buChar char="§"/>
            </a:pPr>
            <a:r>
              <a:rPr lang="en-US" sz="1400" dirty="0">
                <a:solidFill>
                  <a:srgbClr val="002060"/>
                </a:solidFill>
                <a:cs typeface="Calibri"/>
              </a:rPr>
              <a:t>JDK Setup</a:t>
            </a:r>
          </a:p>
          <a:p>
            <a:pPr marL="742950" lvl="1" indent="-285750">
              <a:buFont typeface="Wingdings"/>
              <a:buChar char="§"/>
            </a:pPr>
            <a:r>
              <a:rPr lang="en-US" sz="1400" dirty="0">
                <a:solidFill>
                  <a:srgbClr val="002060"/>
                </a:solidFill>
                <a:cs typeface="Calibri"/>
              </a:rPr>
              <a:t>Compile and Package of Java Project</a:t>
            </a:r>
          </a:p>
          <a:p>
            <a:pPr marL="742950" lvl="1" indent="-285750">
              <a:buFont typeface="Wingdings"/>
              <a:buChar char="§"/>
            </a:pPr>
            <a:r>
              <a:rPr lang="en-US" sz="1400" dirty="0">
                <a:solidFill>
                  <a:srgbClr val="002060"/>
                </a:solidFill>
                <a:cs typeface="Calibri"/>
              </a:rPr>
              <a:t>Docker Image creation</a:t>
            </a:r>
          </a:p>
          <a:p>
            <a:pPr marL="742950" lvl="1" indent="-285750">
              <a:buFont typeface="Wingdings"/>
              <a:buChar char="§"/>
            </a:pPr>
            <a:r>
              <a:rPr lang="en-US" sz="1400" dirty="0">
                <a:solidFill>
                  <a:srgbClr val="002060"/>
                </a:solidFill>
                <a:cs typeface="Calibri"/>
              </a:rPr>
              <a:t>Push Docker Image to ACR</a:t>
            </a:r>
          </a:p>
          <a:p>
            <a:pPr marL="742950" lvl="1" indent="-285750">
              <a:buFont typeface="Wingdings"/>
              <a:buChar char="§"/>
            </a:pPr>
            <a:r>
              <a:rPr lang="en-US" sz="1400" dirty="0" err="1">
                <a:solidFill>
                  <a:srgbClr val="002060"/>
                </a:solidFill>
                <a:cs typeface="Calibri"/>
              </a:rPr>
              <a:t>Kubectl</a:t>
            </a:r>
            <a:r>
              <a:rPr lang="en-US" sz="1400" dirty="0">
                <a:solidFill>
                  <a:srgbClr val="002060"/>
                </a:solidFill>
                <a:cs typeface="Calibri"/>
              </a:rPr>
              <a:t> Setup</a:t>
            </a:r>
          </a:p>
          <a:p>
            <a:pPr marL="742950" lvl="1" indent="-285750">
              <a:buFont typeface="Wingdings"/>
              <a:buChar char="§"/>
            </a:pPr>
            <a:r>
              <a:rPr lang="en-US" sz="1400" dirty="0">
                <a:solidFill>
                  <a:srgbClr val="002060"/>
                </a:solidFill>
                <a:cs typeface="Calibri"/>
              </a:rPr>
              <a:t>Deploy to AKS</a:t>
            </a:r>
          </a:p>
          <a:p>
            <a:endParaRPr lang="en-US" sz="1400" dirty="0">
              <a:solidFill>
                <a:srgbClr val="002060"/>
              </a:solidFill>
              <a:cs typeface="Calibri"/>
            </a:endParaRPr>
          </a:p>
        </p:txBody>
      </p:sp>
      <p:sp>
        <p:nvSpPr>
          <p:cNvPr id="79" name="Title 1">
            <a:extLst>
              <a:ext uri="{FF2B5EF4-FFF2-40B4-BE49-F238E27FC236}">
                <a16:creationId xmlns:a16="http://schemas.microsoft.com/office/drawing/2014/main" id="{C30897A7-14C5-45F1-8943-A3F235EE3304}"/>
              </a:ext>
            </a:extLst>
          </p:cNvPr>
          <p:cNvSpPr txBox="1">
            <a:spLocks/>
          </p:cNvSpPr>
          <p:nvPr/>
        </p:nvSpPr>
        <p:spPr>
          <a:xfrm>
            <a:off x="208484" y="85797"/>
            <a:ext cx="10677230" cy="384076"/>
          </a:xfrm>
          <a:prstGeom prst="rect">
            <a:avLst/>
          </a:prstGeom>
        </p:spPr>
        <p:txBody>
          <a:bodyPr vert="horz" wrap="square" lIns="68580" tIns="34290" rIns="68580" bIns="34290" rtlCol="0" anchor="ctr">
            <a:no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2799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z="3200" dirty="0">
                <a:solidFill>
                  <a:srgbClr val="45A8A3"/>
                </a:solidFill>
                <a:latin typeface="Calibri" panose="020F0502020204030204"/>
                <a:cs typeface="Arial"/>
              </a:rPr>
              <a:t>CI/CD ARCHITECTURE USING GITHUB ACTIONS &amp; AKS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45A8A3"/>
              </a:solidFill>
              <a:effectLst/>
              <a:uLnTx/>
              <a:uFillTx/>
              <a:latin typeface="Calibri" panose="020F0502020204030204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28981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B455B88A-C127-47B3-B317-724BD4EAAD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F07A923-368D-45E6-AACC-9ECE4057AA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FE16B44-FE3C-4330-AF20-E869FC7B78A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81CB6733-6A12-4A1C-87C3-B676FB381DB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754CCFD-DC5E-453F-B95A-F045ED9B29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AE826A39-89EA-44EA-ABC5-F4469349217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D2600CBB-0CF8-4237-8491-B7864363D2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">
                <a:schemeClr val="dk2">
                  <a:tint val="97000"/>
                  <a:hueMod val="92000"/>
                  <a:satMod val="169000"/>
                  <a:lumMod val="164000"/>
                </a:schemeClr>
              </a:gs>
              <a:gs pos="100000">
                <a:schemeClr val="dk2">
                  <a:shade val="96000"/>
                  <a:satMod val="120000"/>
                  <a:lumMod val="90000"/>
                </a:schemeClr>
              </a:gs>
            </a:gsLst>
            <a:lin ang="612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C8979E5-17F8-4306-BA15-F4020AC9731E}"/>
              </a:ext>
            </a:extLst>
          </p:cNvPr>
          <p:cNvSpPr txBox="1"/>
          <p:nvPr/>
        </p:nvSpPr>
        <p:spPr>
          <a:xfrm>
            <a:off x="5865812" y="2055810"/>
            <a:ext cx="4087812" cy="38984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457200" fontAlgn="auto"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3600" b="1" i="0" u="none" strike="noStrike" kern="1200" cap="all" spc="0" normalizeH="0" baseline="0" noProof="0">
                <a:ln w="3175" cmpd="sng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ANK YOU.</a:t>
            </a:r>
          </a:p>
        </p:txBody>
      </p:sp>
      <p:sp>
        <p:nvSpPr>
          <p:cNvPr id="21" name="Snip Diagonal Corner Rectangle 21">
            <a:extLst>
              <a:ext uri="{FF2B5EF4-FFF2-40B4-BE49-F238E27FC236}">
                <a16:creationId xmlns:a16="http://schemas.microsoft.com/office/drawing/2014/main" id="{E4CBBC1E-991D-4CF9-BCA5-AB14968714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2188824" cy="4572000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F711EC1-C91E-4893-894D-513E91EBF332}"/>
              </a:ext>
            </a:extLst>
          </p:cNvPr>
          <p:cNvGrpSpPr/>
          <p:nvPr/>
        </p:nvGrpSpPr>
        <p:grpSpPr>
          <a:xfrm>
            <a:off x="-4621" y="2286126"/>
            <a:ext cx="4602594" cy="810121"/>
            <a:chOff x="2761404" y="1694205"/>
            <a:chExt cx="1551238" cy="32302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E4D8680-AFCE-44D4-ABFE-6BDC5744CF70}"/>
                </a:ext>
              </a:extLst>
            </p:cNvPr>
            <p:cNvSpPr/>
            <p:nvPr/>
          </p:nvSpPr>
          <p:spPr>
            <a:xfrm>
              <a:off x="2761404" y="1694205"/>
              <a:ext cx="1551238" cy="32302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" name="Freeform 36">
              <a:extLst>
                <a:ext uri="{FF2B5EF4-FFF2-40B4-BE49-F238E27FC236}">
                  <a16:creationId xmlns:a16="http://schemas.microsoft.com/office/drawing/2014/main" id="{CF7C4138-E3CA-412A-BAD5-9BCFF47CA8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6878" y="1697436"/>
              <a:ext cx="228022" cy="265988"/>
            </a:xfrm>
            <a:custGeom>
              <a:avLst/>
              <a:gdLst>
                <a:gd name="T0" fmla="*/ 346 w 5947"/>
                <a:gd name="T1" fmla="*/ 3458 h 6120"/>
                <a:gd name="T2" fmla="*/ 532 w 5947"/>
                <a:gd name="T3" fmla="*/ 5726 h 6120"/>
                <a:gd name="T4" fmla="*/ 1494 w 5947"/>
                <a:gd name="T5" fmla="*/ 5580 h 6120"/>
                <a:gd name="T6" fmla="*/ 1356 w 5947"/>
                <a:gd name="T7" fmla="*/ 3275 h 6120"/>
                <a:gd name="T8" fmla="*/ 3213 w 5947"/>
                <a:gd name="T9" fmla="*/ 548 h 6120"/>
                <a:gd name="T10" fmla="*/ 3206 w 5947"/>
                <a:gd name="T11" fmla="*/ 835 h 6120"/>
                <a:gd name="T12" fmla="*/ 3024 w 5947"/>
                <a:gd name="T13" fmla="*/ 1289 h 6120"/>
                <a:gd name="T14" fmla="*/ 2677 w 5947"/>
                <a:gd name="T15" fmla="*/ 2013 h 6120"/>
                <a:gd name="T16" fmla="*/ 2236 w 5947"/>
                <a:gd name="T17" fmla="*/ 2687 h 6120"/>
                <a:gd name="T18" fmla="*/ 1866 w 5947"/>
                <a:gd name="T19" fmla="*/ 3166 h 6120"/>
                <a:gd name="T20" fmla="*/ 1842 w 5947"/>
                <a:gd name="T21" fmla="*/ 5595 h 6120"/>
                <a:gd name="T22" fmla="*/ 2112 w 5947"/>
                <a:gd name="T23" fmla="*/ 5685 h 6120"/>
                <a:gd name="T24" fmla="*/ 2795 w 5947"/>
                <a:gd name="T25" fmla="*/ 5740 h 6120"/>
                <a:gd name="T26" fmla="*/ 3645 w 5947"/>
                <a:gd name="T27" fmla="*/ 5757 h 6120"/>
                <a:gd name="T28" fmla="*/ 4577 w 5947"/>
                <a:gd name="T29" fmla="*/ 5729 h 6120"/>
                <a:gd name="T30" fmla="*/ 5143 w 5947"/>
                <a:gd name="T31" fmla="*/ 5403 h 6120"/>
                <a:gd name="T32" fmla="*/ 5182 w 5947"/>
                <a:gd name="T33" fmla="*/ 5093 h 6120"/>
                <a:gd name="T34" fmla="*/ 5236 w 5947"/>
                <a:gd name="T35" fmla="*/ 4877 h 6120"/>
                <a:gd name="T36" fmla="*/ 5472 w 5947"/>
                <a:gd name="T37" fmla="*/ 4389 h 6120"/>
                <a:gd name="T38" fmla="*/ 5402 w 5947"/>
                <a:gd name="T39" fmla="*/ 4186 h 6120"/>
                <a:gd name="T40" fmla="*/ 5579 w 5947"/>
                <a:gd name="T41" fmla="*/ 3804 h 6120"/>
                <a:gd name="T42" fmla="*/ 5519 w 5947"/>
                <a:gd name="T43" fmla="*/ 3439 h 6120"/>
                <a:gd name="T44" fmla="*/ 5402 w 5947"/>
                <a:gd name="T45" fmla="*/ 3262 h 6120"/>
                <a:gd name="T46" fmla="*/ 5478 w 5947"/>
                <a:gd name="T47" fmla="*/ 3031 h 6120"/>
                <a:gd name="T48" fmla="*/ 5385 w 5947"/>
                <a:gd name="T49" fmla="*/ 2678 h 6120"/>
                <a:gd name="T50" fmla="*/ 4855 w 5947"/>
                <a:gd name="T51" fmla="*/ 2523 h 6120"/>
                <a:gd name="T52" fmla="*/ 4185 w 5947"/>
                <a:gd name="T53" fmla="*/ 2566 h 6120"/>
                <a:gd name="T54" fmla="*/ 3729 w 5947"/>
                <a:gd name="T55" fmla="*/ 2657 h 6120"/>
                <a:gd name="T56" fmla="*/ 3446 w 5947"/>
                <a:gd name="T57" fmla="*/ 2477 h 6120"/>
                <a:gd name="T58" fmla="*/ 3459 w 5947"/>
                <a:gd name="T59" fmla="*/ 1903 h 6120"/>
                <a:gd name="T60" fmla="*/ 3688 w 5947"/>
                <a:gd name="T61" fmla="*/ 1023 h 6120"/>
                <a:gd name="T62" fmla="*/ 3569 w 5947"/>
                <a:gd name="T63" fmla="*/ 473 h 6120"/>
                <a:gd name="T64" fmla="*/ 3267 w 5947"/>
                <a:gd name="T65" fmla="*/ 345 h 6120"/>
                <a:gd name="T66" fmla="*/ 3489 w 5947"/>
                <a:gd name="T67" fmla="*/ 40 h 6120"/>
                <a:gd name="T68" fmla="*/ 3932 w 5947"/>
                <a:gd name="T69" fmla="*/ 390 h 6120"/>
                <a:gd name="T70" fmla="*/ 4017 w 5947"/>
                <a:gd name="T71" fmla="*/ 1173 h 6120"/>
                <a:gd name="T72" fmla="*/ 3798 w 5947"/>
                <a:gd name="T73" fmla="*/ 1981 h 6120"/>
                <a:gd name="T74" fmla="*/ 3759 w 5947"/>
                <a:gd name="T75" fmla="*/ 2302 h 6120"/>
                <a:gd name="T76" fmla="*/ 4101 w 5947"/>
                <a:gd name="T77" fmla="*/ 2235 h 6120"/>
                <a:gd name="T78" fmla="*/ 4730 w 5947"/>
                <a:gd name="T79" fmla="*/ 2177 h 6120"/>
                <a:gd name="T80" fmla="*/ 5552 w 5947"/>
                <a:gd name="T81" fmla="*/ 2372 h 6120"/>
                <a:gd name="T82" fmla="*/ 5837 w 5947"/>
                <a:gd name="T83" fmla="*/ 2868 h 6120"/>
                <a:gd name="T84" fmla="*/ 5843 w 5947"/>
                <a:gd name="T85" fmla="*/ 3307 h 6120"/>
                <a:gd name="T86" fmla="*/ 5908 w 5947"/>
                <a:gd name="T87" fmla="*/ 3914 h 6120"/>
                <a:gd name="T88" fmla="*/ 5822 w 5947"/>
                <a:gd name="T89" fmla="*/ 4474 h 6120"/>
                <a:gd name="T90" fmla="*/ 5601 w 5947"/>
                <a:gd name="T91" fmla="*/ 5012 h 6120"/>
                <a:gd name="T92" fmla="*/ 5443 w 5947"/>
                <a:gd name="T93" fmla="*/ 5573 h 6120"/>
                <a:gd name="T94" fmla="*/ 4870 w 5947"/>
                <a:gd name="T95" fmla="*/ 6007 h 6120"/>
                <a:gd name="T96" fmla="*/ 3919 w 5947"/>
                <a:gd name="T97" fmla="*/ 6118 h 6120"/>
                <a:gd name="T98" fmla="*/ 2860 w 5947"/>
                <a:gd name="T99" fmla="*/ 6090 h 6120"/>
                <a:gd name="T100" fmla="*/ 2104 w 5947"/>
                <a:gd name="T101" fmla="*/ 6031 h 6120"/>
                <a:gd name="T102" fmla="*/ 1507 w 5947"/>
                <a:gd name="T103" fmla="*/ 6035 h 6120"/>
                <a:gd name="T104" fmla="*/ 243 w 5947"/>
                <a:gd name="T105" fmla="*/ 5986 h 6120"/>
                <a:gd name="T106" fmla="*/ 0 w 5947"/>
                <a:gd name="T107" fmla="*/ 3458 h 6120"/>
                <a:gd name="T108" fmla="*/ 309 w 5947"/>
                <a:gd name="T109" fmla="*/ 2976 h 6120"/>
                <a:gd name="T110" fmla="*/ 1567 w 5947"/>
                <a:gd name="T111" fmla="*/ 2991 h 6120"/>
                <a:gd name="T112" fmla="*/ 1836 w 5947"/>
                <a:gd name="T113" fmla="*/ 2596 h 6120"/>
                <a:gd name="T114" fmla="*/ 2328 w 5947"/>
                <a:gd name="T115" fmla="*/ 1933 h 6120"/>
                <a:gd name="T116" fmla="*/ 2744 w 5947"/>
                <a:gd name="T117" fmla="*/ 1062 h 6120"/>
                <a:gd name="T118" fmla="*/ 2869 w 5947"/>
                <a:gd name="T119" fmla="*/ 520 h 6120"/>
                <a:gd name="T120" fmla="*/ 3027 w 5947"/>
                <a:gd name="T121" fmla="*/ 73 h 6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947" h="6120">
                  <a:moveTo>
                    <a:pt x="532" y="3270"/>
                  </a:moveTo>
                  <a:lnTo>
                    <a:pt x="489" y="3275"/>
                  </a:lnTo>
                  <a:lnTo>
                    <a:pt x="450" y="3288"/>
                  </a:lnTo>
                  <a:lnTo>
                    <a:pt x="417" y="3311"/>
                  </a:lnTo>
                  <a:lnTo>
                    <a:pt x="387" y="3341"/>
                  </a:lnTo>
                  <a:lnTo>
                    <a:pt x="364" y="3374"/>
                  </a:lnTo>
                  <a:lnTo>
                    <a:pt x="350" y="3415"/>
                  </a:lnTo>
                  <a:lnTo>
                    <a:pt x="346" y="3458"/>
                  </a:lnTo>
                  <a:lnTo>
                    <a:pt x="346" y="5539"/>
                  </a:lnTo>
                  <a:lnTo>
                    <a:pt x="350" y="5580"/>
                  </a:lnTo>
                  <a:lnTo>
                    <a:pt x="364" y="5621"/>
                  </a:lnTo>
                  <a:lnTo>
                    <a:pt x="387" y="5655"/>
                  </a:lnTo>
                  <a:lnTo>
                    <a:pt x="415" y="5685"/>
                  </a:lnTo>
                  <a:lnTo>
                    <a:pt x="450" y="5707"/>
                  </a:lnTo>
                  <a:lnTo>
                    <a:pt x="489" y="5720"/>
                  </a:lnTo>
                  <a:lnTo>
                    <a:pt x="532" y="5726"/>
                  </a:lnTo>
                  <a:lnTo>
                    <a:pt x="532" y="5724"/>
                  </a:lnTo>
                  <a:lnTo>
                    <a:pt x="1313" y="5724"/>
                  </a:lnTo>
                  <a:lnTo>
                    <a:pt x="1354" y="5720"/>
                  </a:lnTo>
                  <a:lnTo>
                    <a:pt x="1395" y="5705"/>
                  </a:lnTo>
                  <a:lnTo>
                    <a:pt x="1429" y="5683"/>
                  </a:lnTo>
                  <a:lnTo>
                    <a:pt x="1459" y="5655"/>
                  </a:lnTo>
                  <a:lnTo>
                    <a:pt x="1481" y="5619"/>
                  </a:lnTo>
                  <a:lnTo>
                    <a:pt x="1494" y="5580"/>
                  </a:lnTo>
                  <a:lnTo>
                    <a:pt x="1500" y="5537"/>
                  </a:lnTo>
                  <a:lnTo>
                    <a:pt x="1500" y="3458"/>
                  </a:lnTo>
                  <a:lnTo>
                    <a:pt x="1494" y="3415"/>
                  </a:lnTo>
                  <a:lnTo>
                    <a:pt x="1481" y="3376"/>
                  </a:lnTo>
                  <a:lnTo>
                    <a:pt x="1459" y="3341"/>
                  </a:lnTo>
                  <a:lnTo>
                    <a:pt x="1429" y="3313"/>
                  </a:lnTo>
                  <a:lnTo>
                    <a:pt x="1395" y="3290"/>
                  </a:lnTo>
                  <a:lnTo>
                    <a:pt x="1356" y="3275"/>
                  </a:lnTo>
                  <a:lnTo>
                    <a:pt x="1313" y="3270"/>
                  </a:lnTo>
                  <a:lnTo>
                    <a:pt x="532" y="3270"/>
                  </a:lnTo>
                  <a:close/>
                  <a:moveTo>
                    <a:pt x="3243" y="343"/>
                  </a:moveTo>
                  <a:lnTo>
                    <a:pt x="3232" y="369"/>
                  </a:lnTo>
                  <a:lnTo>
                    <a:pt x="3225" y="403"/>
                  </a:lnTo>
                  <a:lnTo>
                    <a:pt x="3219" y="445"/>
                  </a:lnTo>
                  <a:lnTo>
                    <a:pt x="3215" y="494"/>
                  </a:lnTo>
                  <a:lnTo>
                    <a:pt x="3213" y="548"/>
                  </a:lnTo>
                  <a:lnTo>
                    <a:pt x="3215" y="604"/>
                  </a:lnTo>
                  <a:lnTo>
                    <a:pt x="3219" y="660"/>
                  </a:lnTo>
                  <a:lnTo>
                    <a:pt x="3226" y="714"/>
                  </a:lnTo>
                  <a:lnTo>
                    <a:pt x="3228" y="743"/>
                  </a:lnTo>
                  <a:lnTo>
                    <a:pt x="3226" y="773"/>
                  </a:lnTo>
                  <a:lnTo>
                    <a:pt x="3219" y="799"/>
                  </a:lnTo>
                  <a:lnTo>
                    <a:pt x="3215" y="812"/>
                  </a:lnTo>
                  <a:lnTo>
                    <a:pt x="3206" y="835"/>
                  </a:lnTo>
                  <a:lnTo>
                    <a:pt x="3195" y="864"/>
                  </a:lnTo>
                  <a:lnTo>
                    <a:pt x="3180" y="905"/>
                  </a:lnTo>
                  <a:lnTo>
                    <a:pt x="3161" y="952"/>
                  </a:lnTo>
                  <a:lnTo>
                    <a:pt x="3139" y="1008"/>
                  </a:lnTo>
                  <a:lnTo>
                    <a:pt x="3115" y="1069"/>
                  </a:lnTo>
                  <a:lnTo>
                    <a:pt x="3087" y="1138"/>
                  </a:lnTo>
                  <a:lnTo>
                    <a:pt x="3057" y="1211"/>
                  </a:lnTo>
                  <a:lnTo>
                    <a:pt x="3024" y="1289"/>
                  </a:lnTo>
                  <a:lnTo>
                    <a:pt x="2988" y="1371"/>
                  </a:lnTo>
                  <a:lnTo>
                    <a:pt x="2949" y="1456"/>
                  </a:lnTo>
                  <a:lnTo>
                    <a:pt x="2910" y="1546"/>
                  </a:lnTo>
                  <a:lnTo>
                    <a:pt x="2867" y="1637"/>
                  </a:lnTo>
                  <a:lnTo>
                    <a:pt x="2823" y="1730"/>
                  </a:lnTo>
                  <a:lnTo>
                    <a:pt x="2776" y="1825"/>
                  </a:lnTo>
                  <a:lnTo>
                    <a:pt x="2728" y="1920"/>
                  </a:lnTo>
                  <a:lnTo>
                    <a:pt x="2677" y="2013"/>
                  </a:lnTo>
                  <a:lnTo>
                    <a:pt x="2627" y="2106"/>
                  </a:lnTo>
                  <a:lnTo>
                    <a:pt x="2573" y="2199"/>
                  </a:lnTo>
                  <a:lnTo>
                    <a:pt x="2519" y="2289"/>
                  </a:lnTo>
                  <a:lnTo>
                    <a:pt x="2465" y="2376"/>
                  </a:lnTo>
                  <a:lnTo>
                    <a:pt x="2410" y="2460"/>
                  </a:lnTo>
                  <a:lnTo>
                    <a:pt x="2352" y="2540"/>
                  </a:lnTo>
                  <a:lnTo>
                    <a:pt x="2294" y="2616"/>
                  </a:lnTo>
                  <a:lnTo>
                    <a:pt x="2236" y="2687"/>
                  </a:lnTo>
                  <a:lnTo>
                    <a:pt x="2177" y="2750"/>
                  </a:lnTo>
                  <a:lnTo>
                    <a:pt x="2117" y="2808"/>
                  </a:lnTo>
                  <a:lnTo>
                    <a:pt x="2058" y="2860"/>
                  </a:lnTo>
                  <a:lnTo>
                    <a:pt x="2006" y="2922"/>
                  </a:lnTo>
                  <a:lnTo>
                    <a:pt x="1961" y="2985"/>
                  </a:lnTo>
                  <a:lnTo>
                    <a:pt x="1924" y="3046"/>
                  </a:lnTo>
                  <a:lnTo>
                    <a:pt x="1892" y="3108"/>
                  </a:lnTo>
                  <a:lnTo>
                    <a:pt x="1866" y="3166"/>
                  </a:lnTo>
                  <a:lnTo>
                    <a:pt x="1846" y="3216"/>
                  </a:lnTo>
                  <a:lnTo>
                    <a:pt x="1831" y="3262"/>
                  </a:lnTo>
                  <a:lnTo>
                    <a:pt x="1820" y="3298"/>
                  </a:lnTo>
                  <a:lnTo>
                    <a:pt x="1835" y="3350"/>
                  </a:lnTo>
                  <a:lnTo>
                    <a:pt x="1842" y="3402"/>
                  </a:lnTo>
                  <a:lnTo>
                    <a:pt x="1846" y="3458"/>
                  </a:lnTo>
                  <a:lnTo>
                    <a:pt x="1846" y="5539"/>
                  </a:lnTo>
                  <a:lnTo>
                    <a:pt x="1842" y="5595"/>
                  </a:lnTo>
                  <a:lnTo>
                    <a:pt x="1833" y="5651"/>
                  </a:lnTo>
                  <a:lnTo>
                    <a:pt x="1963" y="5666"/>
                  </a:lnTo>
                  <a:lnTo>
                    <a:pt x="1965" y="5666"/>
                  </a:lnTo>
                  <a:lnTo>
                    <a:pt x="1970" y="5668"/>
                  </a:lnTo>
                  <a:lnTo>
                    <a:pt x="1991" y="5670"/>
                  </a:lnTo>
                  <a:lnTo>
                    <a:pt x="2021" y="5673"/>
                  </a:lnTo>
                  <a:lnTo>
                    <a:pt x="2062" y="5679"/>
                  </a:lnTo>
                  <a:lnTo>
                    <a:pt x="2112" y="5685"/>
                  </a:lnTo>
                  <a:lnTo>
                    <a:pt x="2171" y="5690"/>
                  </a:lnTo>
                  <a:lnTo>
                    <a:pt x="2240" y="5698"/>
                  </a:lnTo>
                  <a:lnTo>
                    <a:pt x="2316" y="5705"/>
                  </a:lnTo>
                  <a:lnTo>
                    <a:pt x="2400" y="5713"/>
                  </a:lnTo>
                  <a:lnTo>
                    <a:pt x="2490" y="5720"/>
                  </a:lnTo>
                  <a:lnTo>
                    <a:pt x="2586" y="5727"/>
                  </a:lnTo>
                  <a:lnTo>
                    <a:pt x="2689" y="5733"/>
                  </a:lnTo>
                  <a:lnTo>
                    <a:pt x="2795" y="5740"/>
                  </a:lnTo>
                  <a:lnTo>
                    <a:pt x="2906" y="5746"/>
                  </a:lnTo>
                  <a:lnTo>
                    <a:pt x="3022" y="5752"/>
                  </a:lnTo>
                  <a:lnTo>
                    <a:pt x="3139" y="5755"/>
                  </a:lnTo>
                  <a:lnTo>
                    <a:pt x="3260" y="5757"/>
                  </a:lnTo>
                  <a:lnTo>
                    <a:pt x="3381" y="5759"/>
                  </a:lnTo>
                  <a:lnTo>
                    <a:pt x="3504" y="5759"/>
                  </a:lnTo>
                  <a:lnTo>
                    <a:pt x="3627" y="5757"/>
                  </a:lnTo>
                  <a:lnTo>
                    <a:pt x="3645" y="5757"/>
                  </a:lnTo>
                  <a:lnTo>
                    <a:pt x="3787" y="5766"/>
                  </a:lnTo>
                  <a:lnTo>
                    <a:pt x="3921" y="5774"/>
                  </a:lnTo>
                  <a:lnTo>
                    <a:pt x="4049" y="5776"/>
                  </a:lnTo>
                  <a:lnTo>
                    <a:pt x="4170" y="5774"/>
                  </a:lnTo>
                  <a:lnTo>
                    <a:pt x="4283" y="5768"/>
                  </a:lnTo>
                  <a:lnTo>
                    <a:pt x="4388" y="5759"/>
                  </a:lnTo>
                  <a:lnTo>
                    <a:pt x="4486" y="5746"/>
                  </a:lnTo>
                  <a:lnTo>
                    <a:pt x="4577" y="5729"/>
                  </a:lnTo>
                  <a:lnTo>
                    <a:pt x="4682" y="5703"/>
                  </a:lnTo>
                  <a:lnTo>
                    <a:pt x="4777" y="5673"/>
                  </a:lnTo>
                  <a:lnTo>
                    <a:pt x="4860" y="5640"/>
                  </a:lnTo>
                  <a:lnTo>
                    <a:pt x="4937" y="5601"/>
                  </a:lnTo>
                  <a:lnTo>
                    <a:pt x="5004" y="5558"/>
                  </a:lnTo>
                  <a:lnTo>
                    <a:pt x="5059" y="5511"/>
                  </a:lnTo>
                  <a:lnTo>
                    <a:pt x="5106" y="5459"/>
                  </a:lnTo>
                  <a:lnTo>
                    <a:pt x="5143" y="5403"/>
                  </a:lnTo>
                  <a:lnTo>
                    <a:pt x="5165" y="5357"/>
                  </a:lnTo>
                  <a:lnTo>
                    <a:pt x="5180" y="5308"/>
                  </a:lnTo>
                  <a:lnTo>
                    <a:pt x="5190" y="5262"/>
                  </a:lnTo>
                  <a:lnTo>
                    <a:pt x="5193" y="5219"/>
                  </a:lnTo>
                  <a:lnTo>
                    <a:pt x="5193" y="5180"/>
                  </a:lnTo>
                  <a:lnTo>
                    <a:pt x="5191" y="5145"/>
                  </a:lnTo>
                  <a:lnTo>
                    <a:pt x="5188" y="5115"/>
                  </a:lnTo>
                  <a:lnTo>
                    <a:pt x="5182" y="5093"/>
                  </a:lnTo>
                  <a:lnTo>
                    <a:pt x="5178" y="5079"/>
                  </a:lnTo>
                  <a:lnTo>
                    <a:pt x="5178" y="5074"/>
                  </a:lnTo>
                  <a:lnTo>
                    <a:pt x="5169" y="5039"/>
                  </a:lnTo>
                  <a:lnTo>
                    <a:pt x="5167" y="5001"/>
                  </a:lnTo>
                  <a:lnTo>
                    <a:pt x="5175" y="4966"/>
                  </a:lnTo>
                  <a:lnTo>
                    <a:pt x="5190" y="4932"/>
                  </a:lnTo>
                  <a:lnTo>
                    <a:pt x="5210" y="4903"/>
                  </a:lnTo>
                  <a:lnTo>
                    <a:pt x="5236" y="4877"/>
                  </a:lnTo>
                  <a:lnTo>
                    <a:pt x="5303" y="4821"/>
                  </a:lnTo>
                  <a:lnTo>
                    <a:pt x="5359" y="4763"/>
                  </a:lnTo>
                  <a:lnTo>
                    <a:pt x="5405" y="4702"/>
                  </a:lnTo>
                  <a:lnTo>
                    <a:pt x="5439" y="4638"/>
                  </a:lnTo>
                  <a:lnTo>
                    <a:pt x="5463" y="4573"/>
                  </a:lnTo>
                  <a:lnTo>
                    <a:pt x="5474" y="4504"/>
                  </a:lnTo>
                  <a:lnTo>
                    <a:pt x="5476" y="4433"/>
                  </a:lnTo>
                  <a:lnTo>
                    <a:pt x="5472" y="4389"/>
                  </a:lnTo>
                  <a:lnTo>
                    <a:pt x="5465" y="4350"/>
                  </a:lnTo>
                  <a:lnTo>
                    <a:pt x="5456" y="4312"/>
                  </a:lnTo>
                  <a:lnTo>
                    <a:pt x="5445" y="4281"/>
                  </a:lnTo>
                  <a:lnTo>
                    <a:pt x="5435" y="4257"/>
                  </a:lnTo>
                  <a:lnTo>
                    <a:pt x="5426" y="4236"/>
                  </a:lnTo>
                  <a:lnTo>
                    <a:pt x="5420" y="4225"/>
                  </a:lnTo>
                  <a:lnTo>
                    <a:pt x="5418" y="4219"/>
                  </a:lnTo>
                  <a:lnTo>
                    <a:pt x="5402" y="4186"/>
                  </a:lnTo>
                  <a:lnTo>
                    <a:pt x="5394" y="4149"/>
                  </a:lnTo>
                  <a:lnTo>
                    <a:pt x="5394" y="4111"/>
                  </a:lnTo>
                  <a:lnTo>
                    <a:pt x="5402" y="4076"/>
                  </a:lnTo>
                  <a:lnTo>
                    <a:pt x="5418" y="4042"/>
                  </a:lnTo>
                  <a:lnTo>
                    <a:pt x="5441" y="4011"/>
                  </a:lnTo>
                  <a:lnTo>
                    <a:pt x="5500" y="3942"/>
                  </a:lnTo>
                  <a:lnTo>
                    <a:pt x="5547" y="3873"/>
                  </a:lnTo>
                  <a:lnTo>
                    <a:pt x="5579" y="3804"/>
                  </a:lnTo>
                  <a:lnTo>
                    <a:pt x="5597" y="3735"/>
                  </a:lnTo>
                  <a:lnTo>
                    <a:pt x="5601" y="3666"/>
                  </a:lnTo>
                  <a:lnTo>
                    <a:pt x="5597" y="3620"/>
                  </a:lnTo>
                  <a:lnTo>
                    <a:pt x="5586" y="3577"/>
                  </a:lnTo>
                  <a:lnTo>
                    <a:pt x="5573" y="3538"/>
                  </a:lnTo>
                  <a:lnTo>
                    <a:pt x="5556" y="3501"/>
                  </a:lnTo>
                  <a:lnTo>
                    <a:pt x="5538" y="3469"/>
                  </a:lnTo>
                  <a:lnTo>
                    <a:pt x="5519" y="3439"/>
                  </a:lnTo>
                  <a:lnTo>
                    <a:pt x="5500" y="3415"/>
                  </a:lnTo>
                  <a:lnTo>
                    <a:pt x="5484" y="3395"/>
                  </a:lnTo>
                  <a:lnTo>
                    <a:pt x="5471" y="3380"/>
                  </a:lnTo>
                  <a:lnTo>
                    <a:pt x="5463" y="3370"/>
                  </a:lnTo>
                  <a:lnTo>
                    <a:pt x="5459" y="3368"/>
                  </a:lnTo>
                  <a:lnTo>
                    <a:pt x="5432" y="3337"/>
                  </a:lnTo>
                  <a:lnTo>
                    <a:pt x="5413" y="3300"/>
                  </a:lnTo>
                  <a:lnTo>
                    <a:pt x="5402" y="3262"/>
                  </a:lnTo>
                  <a:lnTo>
                    <a:pt x="5402" y="3221"/>
                  </a:lnTo>
                  <a:lnTo>
                    <a:pt x="5409" y="3182"/>
                  </a:lnTo>
                  <a:lnTo>
                    <a:pt x="5428" y="3145"/>
                  </a:lnTo>
                  <a:lnTo>
                    <a:pt x="5433" y="3136"/>
                  </a:lnTo>
                  <a:lnTo>
                    <a:pt x="5443" y="3117"/>
                  </a:lnTo>
                  <a:lnTo>
                    <a:pt x="5454" y="3095"/>
                  </a:lnTo>
                  <a:lnTo>
                    <a:pt x="5467" y="3063"/>
                  </a:lnTo>
                  <a:lnTo>
                    <a:pt x="5478" y="3031"/>
                  </a:lnTo>
                  <a:lnTo>
                    <a:pt x="5487" y="2992"/>
                  </a:lnTo>
                  <a:lnTo>
                    <a:pt x="5493" y="2951"/>
                  </a:lnTo>
                  <a:lnTo>
                    <a:pt x="5495" y="2907"/>
                  </a:lnTo>
                  <a:lnTo>
                    <a:pt x="5489" y="2862"/>
                  </a:lnTo>
                  <a:lnTo>
                    <a:pt x="5478" y="2816"/>
                  </a:lnTo>
                  <a:lnTo>
                    <a:pt x="5458" y="2769"/>
                  </a:lnTo>
                  <a:lnTo>
                    <a:pt x="5426" y="2722"/>
                  </a:lnTo>
                  <a:lnTo>
                    <a:pt x="5385" y="2678"/>
                  </a:lnTo>
                  <a:lnTo>
                    <a:pt x="5340" y="2642"/>
                  </a:lnTo>
                  <a:lnTo>
                    <a:pt x="5288" y="2613"/>
                  </a:lnTo>
                  <a:lnTo>
                    <a:pt x="5229" y="2588"/>
                  </a:lnTo>
                  <a:lnTo>
                    <a:pt x="5162" y="2568"/>
                  </a:lnTo>
                  <a:lnTo>
                    <a:pt x="5091" y="2551"/>
                  </a:lnTo>
                  <a:lnTo>
                    <a:pt x="5017" y="2538"/>
                  </a:lnTo>
                  <a:lnTo>
                    <a:pt x="4937" y="2529"/>
                  </a:lnTo>
                  <a:lnTo>
                    <a:pt x="4855" y="2523"/>
                  </a:lnTo>
                  <a:lnTo>
                    <a:pt x="4771" y="2519"/>
                  </a:lnTo>
                  <a:lnTo>
                    <a:pt x="4683" y="2519"/>
                  </a:lnTo>
                  <a:lnTo>
                    <a:pt x="4598" y="2523"/>
                  </a:lnTo>
                  <a:lnTo>
                    <a:pt x="4512" y="2527"/>
                  </a:lnTo>
                  <a:lnTo>
                    <a:pt x="4427" y="2534"/>
                  </a:lnTo>
                  <a:lnTo>
                    <a:pt x="4343" y="2544"/>
                  </a:lnTo>
                  <a:lnTo>
                    <a:pt x="4263" y="2555"/>
                  </a:lnTo>
                  <a:lnTo>
                    <a:pt x="4185" y="2566"/>
                  </a:lnTo>
                  <a:lnTo>
                    <a:pt x="4112" y="2579"/>
                  </a:lnTo>
                  <a:lnTo>
                    <a:pt x="4043" y="2594"/>
                  </a:lnTo>
                  <a:lnTo>
                    <a:pt x="4036" y="2596"/>
                  </a:lnTo>
                  <a:lnTo>
                    <a:pt x="4027" y="2598"/>
                  </a:lnTo>
                  <a:lnTo>
                    <a:pt x="3919" y="2616"/>
                  </a:lnTo>
                  <a:lnTo>
                    <a:pt x="3805" y="2642"/>
                  </a:lnTo>
                  <a:lnTo>
                    <a:pt x="3768" y="2652"/>
                  </a:lnTo>
                  <a:lnTo>
                    <a:pt x="3729" y="2657"/>
                  </a:lnTo>
                  <a:lnTo>
                    <a:pt x="3688" y="2659"/>
                  </a:lnTo>
                  <a:lnTo>
                    <a:pt x="3645" y="2654"/>
                  </a:lnTo>
                  <a:lnTo>
                    <a:pt x="3604" y="2641"/>
                  </a:lnTo>
                  <a:lnTo>
                    <a:pt x="3563" y="2620"/>
                  </a:lnTo>
                  <a:lnTo>
                    <a:pt x="3526" y="2592"/>
                  </a:lnTo>
                  <a:lnTo>
                    <a:pt x="3494" y="2559"/>
                  </a:lnTo>
                  <a:lnTo>
                    <a:pt x="3468" y="2521"/>
                  </a:lnTo>
                  <a:lnTo>
                    <a:pt x="3446" y="2477"/>
                  </a:lnTo>
                  <a:lnTo>
                    <a:pt x="3429" y="2428"/>
                  </a:lnTo>
                  <a:lnTo>
                    <a:pt x="3418" y="2372"/>
                  </a:lnTo>
                  <a:lnTo>
                    <a:pt x="3413" y="2311"/>
                  </a:lnTo>
                  <a:lnTo>
                    <a:pt x="3411" y="2244"/>
                  </a:lnTo>
                  <a:lnTo>
                    <a:pt x="3416" y="2169"/>
                  </a:lnTo>
                  <a:lnTo>
                    <a:pt x="3426" y="2088"/>
                  </a:lnTo>
                  <a:lnTo>
                    <a:pt x="3439" y="2000"/>
                  </a:lnTo>
                  <a:lnTo>
                    <a:pt x="3459" y="1903"/>
                  </a:lnTo>
                  <a:lnTo>
                    <a:pt x="3483" y="1801"/>
                  </a:lnTo>
                  <a:lnTo>
                    <a:pt x="3513" y="1691"/>
                  </a:lnTo>
                  <a:lnTo>
                    <a:pt x="3548" y="1572"/>
                  </a:lnTo>
                  <a:lnTo>
                    <a:pt x="3589" y="1447"/>
                  </a:lnTo>
                  <a:lnTo>
                    <a:pt x="3623" y="1332"/>
                  </a:lnTo>
                  <a:lnTo>
                    <a:pt x="3653" y="1224"/>
                  </a:lnTo>
                  <a:lnTo>
                    <a:pt x="3673" y="1121"/>
                  </a:lnTo>
                  <a:lnTo>
                    <a:pt x="3688" y="1023"/>
                  </a:lnTo>
                  <a:lnTo>
                    <a:pt x="3697" y="931"/>
                  </a:lnTo>
                  <a:lnTo>
                    <a:pt x="3697" y="846"/>
                  </a:lnTo>
                  <a:lnTo>
                    <a:pt x="3692" y="768"/>
                  </a:lnTo>
                  <a:lnTo>
                    <a:pt x="3680" y="695"/>
                  </a:lnTo>
                  <a:lnTo>
                    <a:pt x="3662" y="628"/>
                  </a:lnTo>
                  <a:lnTo>
                    <a:pt x="3636" y="568"/>
                  </a:lnTo>
                  <a:lnTo>
                    <a:pt x="3604" y="516"/>
                  </a:lnTo>
                  <a:lnTo>
                    <a:pt x="3569" y="473"/>
                  </a:lnTo>
                  <a:lnTo>
                    <a:pt x="3532" y="440"/>
                  </a:lnTo>
                  <a:lnTo>
                    <a:pt x="3491" y="412"/>
                  </a:lnTo>
                  <a:lnTo>
                    <a:pt x="3450" y="390"/>
                  </a:lnTo>
                  <a:lnTo>
                    <a:pt x="3407" y="373"/>
                  </a:lnTo>
                  <a:lnTo>
                    <a:pt x="3368" y="360"/>
                  </a:lnTo>
                  <a:lnTo>
                    <a:pt x="3331" y="352"/>
                  </a:lnTo>
                  <a:lnTo>
                    <a:pt x="3295" y="347"/>
                  </a:lnTo>
                  <a:lnTo>
                    <a:pt x="3267" y="345"/>
                  </a:lnTo>
                  <a:lnTo>
                    <a:pt x="3243" y="343"/>
                  </a:lnTo>
                  <a:close/>
                  <a:moveTo>
                    <a:pt x="3234" y="0"/>
                  </a:moveTo>
                  <a:lnTo>
                    <a:pt x="3262" y="0"/>
                  </a:lnTo>
                  <a:lnTo>
                    <a:pt x="3295" y="2"/>
                  </a:lnTo>
                  <a:lnTo>
                    <a:pt x="3336" y="6"/>
                  </a:lnTo>
                  <a:lnTo>
                    <a:pt x="3383" y="13"/>
                  </a:lnTo>
                  <a:lnTo>
                    <a:pt x="3435" y="25"/>
                  </a:lnTo>
                  <a:lnTo>
                    <a:pt x="3489" y="40"/>
                  </a:lnTo>
                  <a:lnTo>
                    <a:pt x="3546" y="58"/>
                  </a:lnTo>
                  <a:lnTo>
                    <a:pt x="3604" y="84"/>
                  </a:lnTo>
                  <a:lnTo>
                    <a:pt x="3664" y="116"/>
                  </a:lnTo>
                  <a:lnTo>
                    <a:pt x="3723" y="153"/>
                  </a:lnTo>
                  <a:lnTo>
                    <a:pt x="3779" y="200"/>
                  </a:lnTo>
                  <a:lnTo>
                    <a:pt x="3835" y="254"/>
                  </a:lnTo>
                  <a:lnTo>
                    <a:pt x="3885" y="317"/>
                  </a:lnTo>
                  <a:lnTo>
                    <a:pt x="3932" y="390"/>
                  </a:lnTo>
                  <a:lnTo>
                    <a:pt x="3971" y="468"/>
                  </a:lnTo>
                  <a:lnTo>
                    <a:pt x="4001" y="552"/>
                  </a:lnTo>
                  <a:lnTo>
                    <a:pt x="4023" y="641"/>
                  </a:lnTo>
                  <a:lnTo>
                    <a:pt x="4038" y="736"/>
                  </a:lnTo>
                  <a:lnTo>
                    <a:pt x="4045" y="836"/>
                  </a:lnTo>
                  <a:lnTo>
                    <a:pt x="4043" y="944"/>
                  </a:lnTo>
                  <a:lnTo>
                    <a:pt x="4034" y="1056"/>
                  </a:lnTo>
                  <a:lnTo>
                    <a:pt x="4017" y="1173"/>
                  </a:lnTo>
                  <a:lnTo>
                    <a:pt x="3993" y="1296"/>
                  </a:lnTo>
                  <a:lnTo>
                    <a:pt x="3960" y="1425"/>
                  </a:lnTo>
                  <a:lnTo>
                    <a:pt x="3919" y="1557"/>
                  </a:lnTo>
                  <a:lnTo>
                    <a:pt x="3887" y="1659"/>
                  </a:lnTo>
                  <a:lnTo>
                    <a:pt x="3859" y="1752"/>
                  </a:lnTo>
                  <a:lnTo>
                    <a:pt x="3835" y="1836"/>
                  </a:lnTo>
                  <a:lnTo>
                    <a:pt x="3814" y="1913"/>
                  </a:lnTo>
                  <a:lnTo>
                    <a:pt x="3798" y="1981"/>
                  </a:lnTo>
                  <a:lnTo>
                    <a:pt x="3785" y="2043"/>
                  </a:lnTo>
                  <a:lnTo>
                    <a:pt x="3775" y="2097"/>
                  </a:lnTo>
                  <a:lnTo>
                    <a:pt x="3768" y="2145"/>
                  </a:lnTo>
                  <a:lnTo>
                    <a:pt x="3762" y="2188"/>
                  </a:lnTo>
                  <a:lnTo>
                    <a:pt x="3760" y="2223"/>
                  </a:lnTo>
                  <a:lnTo>
                    <a:pt x="3759" y="2255"/>
                  </a:lnTo>
                  <a:lnTo>
                    <a:pt x="3759" y="2281"/>
                  </a:lnTo>
                  <a:lnTo>
                    <a:pt x="3759" y="2302"/>
                  </a:lnTo>
                  <a:lnTo>
                    <a:pt x="3861" y="2279"/>
                  </a:lnTo>
                  <a:lnTo>
                    <a:pt x="3960" y="2261"/>
                  </a:lnTo>
                  <a:lnTo>
                    <a:pt x="3961" y="2261"/>
                  </a:lnTo>
                  <a:lnTo>
                    <a:pt x="3969" y="2259"/>
                  </a:lnTo>
                  <a:lnTo>
                    <a:pt x="3988" y="2255"/>
                  </a:lnTo>
                  <a:lnTo>
                    <a:pt x="4017" y="2250"/>
                  </a:lnTo>
                  <a:lnTo>
                    <a:pt x="4054" y="2242"/>
                  </a:lnTo>
                  <a:lnTo>
                    <a:pt x="4101" y="2235"/>
                  </a:lnTo>
                  <a:lnTo>
                    <a:pt x="4153" y="2225"/>
                  </a:lnTo>
                  <a:lnTo>
                    <a:pt x="4215" y="2216"/>
                  </a:lnTo>
                  <a:lnTo>
                    <a:pt x="4280" y="2207"/>
                  </a:lnTo>
                  <a:lnTo>
                    <a:pt x="4352" y="2199"/>
                  </a:lnTo>
                  <a:lnTo>
                    <a:pt x="4429" y="2192"/>
                  </a:lnTo>
                  <a:lnTo>
                    <a:pt x="4507" y="2184"/>
                  </a:lnTo>
                  <a:lnTo>
                    <a:pt x="4590" y="2181"/>
                  </a:lnTo>
                  <a:lnTo>
                    <a:pt x="4730" y="2177"/>
                  </a:lnTo>
                  <a:lnTo>
                    <a:pt x="4862" y="2179"/>
                  </a:lnTo>
                  <a:lnTo>
                    <a:pt x="4985" y="2188"/>
                  </a:lnTo>
                  <a:lnTo>
                    <a:pt x="5100" y="2203"/>
                  </a:lnTo>
                  <a:lnTo>
                    <a:pt x="5206" y="2225"/>
                  </a:lnTo>
                  <a:lnTo>
                    <a:pt x="5305" y="2253"/>
                  </a:lnTo>
                  <a:lnTo>
                    <a:pt x="5396" y="2287"/>
                  </a:lnTo>
                  <a:lnTo>
                    <a:pt x="5478" y="2326"/>
                  </a:lnTo>
                  <a:lnTo>
                    <a:pt x="5552" y="2372"/>
                  </a:lnTo>
                  <a:lnTo>
                    <a:pt x="5618" y="2426"/>
                  </a:lnTo>
                  <a:lnTo>
                    <a:pt x="5677" y="2486"/>
                  </a:lnTo>
                  <a:lnTo>
                    <a:pt x="5726" y="2547"/>
                  </a:lnTo>
                  <a:lnTo>
                    <a:pt x="5763" y="2611"/>
                  </a:lnTo>
                  <a:lnTo>
                    <a:pt x="5794" y="2674"/>
                  </a:lnTo>
                  <a:lnTo>
                    <a:pt x="5815" y="2739"/>
                  </a:lnTo>
                  <a:lnTo>
                    <a:pt x="5830" y="2804"/>
                  </a:lnTo>
                  <a:lnTo>
                    <a:pt x="5837" y="2868"/>
                  </a:lnTo>
                  <a:lnTo>
                    <a:pt x="5839" y="2931"/>
                  </a:lnTo>
                  <a:lnTo>
                    <a:pt x="5835" y="2992"/>
                  </a:lnTo>
                  <a:lnTo>
                    <a:pt x="5826" y="3052"/>
                  </a:lnTo>
                  <a:lnTo>
                    <a:pt x="5813" y="3110"/>
                  </a:lnTo>
                  <a:lnTo>
                    <a:pt x="5798" y="3164"/>
                  </a:lnTo>
                  <a:lnTo>
                    <a:pt x="5779" y="3212"/>
                  </a:lnTo>
                  <a:lnTo>
                    <a:pt x="5811" y="3257"/>
                  </a:lnTo>
                  <a:lnTo>
                    <a:pt x="5843" y="3307"/>
                  </a:lnTo>
                  <a:lnTo>
                    <a:pt x="5873" y="3365"/>
                  </a:lnTo>
                  <a:lnTo>
                    <a:pt x="5900" y="3428"/>
                  </a:lnTo>
                  <a:lnTo>
                    <a:pt x="5923" y="3497"/>
                  </a:lnTo>
                  <a:lnTo>
                    <a:pt x="5938" y="3573"/>
                  </a:lnTo>
                  <a:lnTo>
                    <a:pt x="5947" y="3653"/>
                  </a:lnTo>
                  <a:lnTo>
                    <a:pt x="5945" y="3741"/>
                  </a:lnTo>
                  <a:lnTo>
                    <a:pt x="5932" y="3828"/>
                  </a:lnTo>
                  <a:lnTo>
                    <a:pt x="5908" y="3914"/>
                  </a:lnTo>
                  <a:lnTo>
                    <a:pt x="5873" y="3998"/>
                  </a:lnTo>
                  <a:lnTo>
                    <a:pt x="5826" y="4080"/>
                  </a:lnTo>
                  <a:lnTo>
                    <a:pt x="5768" y="4162"/>
                  </a:lnTo>
                  <a:lnTo>
                    <a:pt x="5787" y="4214"/>
                  </a:lnTo>
                  <a:lnTo>
                    <a:pt x="5802" y="4275"/>
                  </a:lnTo>
                  <a:lnTo>
                    <a:pt x="5815" y="4344"/>
                  </a:lnTo>
                  <a:lnTo>
                    <a:pt x="5820" y="4419"/>
                  </a:lnTo>
                  <a:lnTo>
                    <a:pt x="5822" y="4474"/>
                  </a:lnTo>
                  <a:lnTo>
                    <a:pt x="5819" y="4534"/>
                  </a:lnTo>
                  <a:lnTo>
                    <a:pt x="5811" y="4597"/>
                  </a:lnTo>
                  <a:lnTo>
                    <a:pt x="5796" y="4664"/>
                  </a:lnTo>
                  <a:lnTo>
                    <a:pt x="5774" y="4731"/>
                  </a:lnTo>
                  <a:lnTo>
                    <a:pt x="5746" y="4802"/>
                  </a:lnTo>
                  <a:lnTo>
                    <a:pt x="5707" y="4871"/>
                  </a:lnTo>
                  <a:lnTo>
                    <a:pt x="5659" y="4942"/>
                  </a:lnTo>
                  <a:lnTo>
                    <a:pt x="5601" y="5012"/>
                  </a:lnTo>
                  <a:lnTo>
                    <a:pt x="5530" y="5083"/>
                  </a:lnTo>
                  <a:lnTo>
                    <a:pt x="5536" y="5137"/>
                  </a:lnTo>
                  <a:lnTo>
                    <a:pt x="5539" y="5199"/>
                  </a:lnTo>
                  <a:lnTo>
                    <a:pt x="5536" y="5266"/>
                  </a:lnTo>
                  <a:lnTo>
                    <a:pt x="5526" y="5338"/>
                  </a:lnTo>
                  <a:lnTo>
                    <a:pt x="5510" y="5415"/>
                  </a:lnTo>
                  <a:lnTo>
                    <a:pt x="5482" y="5493"/>
                  </a:lnTo>
                  <a:lnTo>
                    <a:pt x="5443" y="5573"/>
                  </a:lnTo>
                  <a:lnTo>
                    <a:pt x="5400" y="5644"/>
                  </a:lnTo>
                  <a:lnTo>
                    <a:pt x="5346" y="5711"/>
                  </a:lnTo>
                  <a:lnTo>
                    <a:pt x="5286" y="5772"/>
                  </a:lnTo>
                  <a:lnTo>
                    <a:pt x="5218" y="5828"/>
                  </a:lnTo>
                  <a:lnTo>
                    <a:pt x="5143" y="5880"/>
                  </a:lnTo>
                  <a:lnTo>
                    <a:pt x="5059" y="5928"/>
                  </a:lnTo>
                  <a:lnTo>
                    <a:pt x="4968" y="5969"/>
                  </a:lnTo>
                  <a:lnTo>
                    <a:pt x="4870" y="6007"/>
                  </a:lnTo>
                  <a:lnTo>
                    <a:pt x="4763" y="6040"/>
                  </a:lnTo>
                  <a:lnTo>
                    <a:pt x="4650" y="6068"/>
                  </a:lnTo>
                  <a:lnTo>
                    <a:pt x="4546" y="6087"/>
                  </a:lnTo>
                  <a:lnTo>
                    <a:pt x="4434" y="6102"/>
                  </a:lnTo>
                  <a:lnTo>
                    <a:pt x="4315" y="6113"/>
                  </a:lnTo>
                  <a:lnTo>
                    <a:pt x="4188" y="6118"/>
                  </a:lnTo>
                  <a:lnTo>
                    <a:pt x="4054" y="6120"/>
                  </a:lnTo>
                  <a:lnTo>
                    <a:pt x="3919" y="6118"/>
                  </a:lnTo>
                  <a:lnTo>
                    <a:pt x="3775" y="6113"/>
                  </a:lnTo>
                  <a:lnTo>
                    <a:pt x="3627" y="6103"/>
                  </a:lnTo>
                  <a:lnTo>
                    <a:pt x="3493" y="6105"/>
                  </a:lnTo>
                  <a:lnTo>
                    <a:pt x="3362" y="6105"/>
                  </a:lnTo>
                  <a:lnTo>
                    <a:pt x="3232" y="6103"/>
                  </a:lnTo>
                  <a:lnTo>
                    <a:pt x="3105" y="6100"/>
                  </a:lnTo>
                  <a:lnTo>
                    <a:pt x="2981" y="6096"/>
                  </a:lnTo>
                  <a:lnTo>
                    <a:pt x="2860" y="6090"/>
                  </a:lnTo>
                  <a:lnTo>
                    <a:pt x="2743" y="6083"/>
                  </a:lnTo>
                  <a:lnTo>
                    <a:pt x="2631" y="6076"/>
                  </a:lnTo>
                  <a:lnTo>
                    <a:pt x="2525" y="6068"/>
                  </a:lnTo>
                  <a:lnTo>
                    <a:pt x="2426" y="6061"/>
                  </a:lnTo>
                  <a:lnTo>
                    <a:pt x="2333" y="6053"/>
                  </a:lnTo>
                  <a:lnTo>
                    <a:pt x="2248" y="6046"/>
                  </a:lnTo>
                  <a:lnTo>
                    <a:pt x="2171" y="6038"/>
                  </a:lnTo>
                  <a:lnTo>
                    <a:pt x="2104" y="6031"/>
                  </a:lnTo>
                  <a:lnTo>
                    <a:pt x="2045" y="6025"/>
                  </a:lnTo>
                  <a:lnTo>
                    <a:pt x="1996" y="6020"/>
                  </a:lnTo>
                  <a:lnTo>
                    <a:pt x="1959" y="6014"/>
                  </a:lnTo>
                  <a:lnTo>
                    <a:pt x="1933" y="6012"/>
                  </a:lnTo>
                  <a:lnTo>
                    <a:pt x="1920" y="6010"/>
                  </a:lnTo>
                  <a:lnTo>
                    <a:pt x="1621" y="5973"/>
                  </a:lnTo>
                  <a:lnTo>
                    <a:pt x="1565" y="6007"/>
                  </a:lnTo>
                  <a:lnTo>
                    <a:pt x="1507" y="6035"/>
                  </a:lnTo>
                  <a:lnTo>
                    <a:pt x="1446" y="6055"/>
                  </a:lnTo>
                  <a:lnTo>
                    <a:pt x="1380" y="6066"/>
                  </a:lnTo>
                  <a:lnTo>
                    <a:pt x="1313" y="6072"/>
                  </a:lnTo>
                  <a:lnTo>
                    <a:pt x="532" y="6072"/>
                  </a:lnTo>
                  <a:lnTo>
                    <a:pt x="454" y="6066"/>
                  </a:lnTo>
                  <a:lnTo>
                    <a:pt x="379" y="6049"/>
                  </a:lnTo>
                  <a:lnTo>
                    <a:pt x="309" y="6022"/>
                  </a:lnTo>
                  <a:lnTo>
                    <a:pt x="243" y="5986"/>
                  </a:lnTo>
                  <a:lnTo>
                    <a:pt x="184" y="5942"/>
                  </a:lnTo>
                  <a:lnTo>
                    <a:pt x="132" y="5888"/>
                  </a:lnTo>
                  <a:lnTo>
                    <a:pt x="85" y="5828"/>
                  </a:lnTo>
                  <a:lnTo>
                    <a:pt x="50" y="5763"/>
                  </a:lnTo>
                  <a:lnTo>
                    <a:pt x="22" y="5692"/>
                  </a:lnTo>
                  <a:lnTo>
                    <a:pt x="5" y="5618"/>
                  </a:lnTo>
                  <a:lnTo>
                    <a:pt x="0" y="5539"/>
                  </a:lnTo>
                  <a:lnTo>
                    <a:pt x="0" y="3458"/>
                  </a:lnTo>
                  <a:lnTo>
                    <a:pt x="5" y="3380"/>
                  </a:lnTo>
                  <a:lnTo>
                    <a:pt x="22" y="3305"/>
                  </a:lnTo>
                  <a:lnTo>
                    <a:pt x="50" y="3234"/>
                  </a:lnTo>
                  <a:lnTo>
                    <a:pt x="85" y="3169"/>
                  </a:lnTo>
                  <a:lnTo>
                    <a:pt x="130" y="3110"/>
                  </a:lnTo>
                  <a:lnTo>
                    <a:pt x="182" y="3058"/>
                  </a:lnTo>
                  <a:lnTo>
                    <a:pt x="242" y="3013"/>
                  </a:lnTo>
                  <a:lnTo>
                    <a:pt x="309" y="2976"/>
                  </a:lnTo>
                  <a:lnTo>
                    <a:pt x="379" y="2950"/>
                  </a:lnTo>
                  <a:lnTo>
                    <a:pt x="454" y="2933"/>
                  </a:lnTo>
                  <a:lnTo>
                    <a:pt x="532" y="2925"/>
                  </a:lnTo>
                  <a:lnTo>
                    <a:pt x="1313" y="2925"/>
                  </a:lnTo>
                  <a:lnTo>
                    <a:pt x="1380" y="2931"/>
                  </a:lnTo>
                  <a:lnTo>
                    <a:pt x="1446" y="2942"/>
                  </a:lnTo>
                  <a:lnTo>
                    <a:pt x="1507" y="2963"/>
                  </a:lnTo>
                  <a:lnTo>
                    <a:pt x="1567" y="2991"/>
                  </a:lnTo>
                  <a:lnTo>
                    <a:pt x="1602" y="2918"/>
                  </a:lnTo>
                  <a:lnTo>
                    <a:pt x="1643" y="2843"/>
                  </a:lnTo>
                  <a:lnTo>
                    <a:pt x="1693" y="2765"/>
                  </a:lnTo>
                  <a:lnTo>
                    <a:pt x="1751" y="2689"/>
                  </a:lnTo>
                  <a:lnTo>
                    <a:pt x="1816" y="2614"/>
                  </a:lnTo>
                  <a:lnTo>
                    <a:pt x="1823" y="2607"/>
                  </a:lnTo>
                  <a:lnTo>
                    <a:pt x="1831" y="2601"/>
                  </a:lnTo>
                  <a:lnTo>
                    <a:pt x="1836" y="2596"/>
                  </a:lnTo>
                  <a:lnTo>
                    <a:pt x="1898" y="2544"/>
                  </a:lnTo>
                  <a:lnTo>
                    <a:pt x="1959" y="2480"/>
                  </a:lnTo>
                  <a:lnTo>
                    <a:pt x="2021" y="2408"/>
                  </a:lnTo>
                  <a:lnTo>
                    <a:pt x="2084" y="2326"/>
                  </a:lnTo>
                  <a:lnTo>
                    <a:pt x="2145" y="2236"/>
                  </a:lnTo>
                  <a:lnTo>
                    <a:pt x="2207" y="2142"/>
                  </a:lnTo>
                  <a:lnTo>
                    <a:pt x="2268" y="2039"/>
                  </a:lnTo>
                  <a:lnTo>
                    <a:pt x="2328" y="1933"/>
                  </a:lnTo>
                  <a:lnTo>
                    <a:pt x="2387" y="1825"/>
                  </a:lnTo>
                  <a:lnTo>
                    <a:pt x="2445" y="1713"/>
                  </a:lnTo>
                  <a:lnTo>
                    <a:pt x="2501" y="1602"/>
                  </a:lnTo>
                  <a:lnTo>
                    <a:pt x="2555" y="1490"/>
                  </a:lnTo>
                  <a:lnTo>
                    <a:pt x="2607" y="1378"/>
                  </a:lnTo>
                  <a:lnTo>
                    <a:pt x="2655" y="1268"/>
                  </a:lnTo>
                  <a:lnTo>
                    <a:pt x="2702" y="1164"/>
                  </a:lnTo>
                  <a:lnTo>
                    <a:pt x="2744" y="1062"/>
                  </a:lnTo>
                  <a:lnTo>
                    <a:pt x="2785" y="967"/>
                  </a:lnTo>
                  <a:lnTo>
                    <a:pt x="2821" y="877"/>
                  </a:lnTo>
                  <a:lnTo>
                    <a:pt x="2852" y="795"/>
                  </a:lnTo>
                  <a:lnTo>
                    <a:pt x="2880" y="723"/>
                  </a:lnTo>
                  <a:lnTo>
                    <a:pt x="2875" y="682"/>
                  </a:lnTo>
                  <a:lnTo>
                    <a:pt x="2871" y="632"/>
                  </a:lnTo>
                  <a:lnTo>
                    <a:pt x="2869" y="578"/>
                  </a:lnTo>
                  <a:lnTo>
                    <a:pt x="2869" y="520"/>
                  </a:lnTo>
                  <a:lnTo>
                    <a:pt x="2871" y="458"/>
                  </a:lnTo>
                  <a:lnTo>
                    <a:pt x="2877" y="395"/>
                  </a:lnTo>
                  <a:lnTo>
                    <a:pt x="2888" y="334"/>
                  </a:lnTo>
                  <a:lnTo>
                    <a:pt x="2903" y="272"/>
                  </a:lnTo>
                  <a:lnTo>
                    <a:pt x="2925" y="215"/>
                  </a:lnTo>
                  <a:lnTo>
                    <a:pt x="2953" y="161"/>
                  </a:lnTo>
                  <a:lnTo>
                    <a:pt x="2988" y="112"/>
                  </a:lnTo>
                  <a:lnTo>
                    <a:pt x="3027" y="73"/>
                  </a:lnTo>
                  <a:lnTo>
                    <a:pt x="3074" y="41"/>
                  </a:lnTo>
                  <a:lnTo>
                    <a:pt x="3124" y="19"/>
                  </a:lnTo>
                  <a:lnTo>
                    <a:pt x="3178" y="4"/>
                  </a:lnTo>
                  <a:lnTo>
                    <a:pt x="3234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36199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ce">
  <a:themeElements>
    <a:clrScheme name="Slice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Slice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lic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2.xml><?xml version="1.0" encoding="utf-8"?>
<a:theme xmlns:a="http://schemas.openxmlformats.org/drawingml/2006/main" name="c. Slides">
  <a:themeElements>
    <a:clrScheme name="M&amp;S">
      <a:dk1>
        <a:sysClr val="windowText" lastClr="000000"/>
      </a:dk1>
      <a:lt1>
        <a:sysClr val="window" lastClr="FFFFFF"/>
      </a:lt1>
      <a:dk2>
        <a:srgbClr val="3F3F3F"/>
      </a:dk2>
      <a:lt2>
        <a:srgbClr val="FFFFFF"/>
      </a:lt2>
      <a:accent1>
        <a:srgbClr val="EA5B1B"/>
      </a:accent1>
      <a:accent2>
        <a:srgbClr val="4C96CB"/>
      </a:accent2>
      <a:accent3>
        <a:srgbClr val="76B82A"/>
      </a:accent3>
      <a:accent4>
        <a:srgbClr val="7B3F91"/>
      </a:accent4>
      <a:accent5>
        <a:srgbClr val="0A4479"/>
      </a:accent5>
      <a:accent6>
        <a:srgbClr val="00707F"/>
      </a:accent6>
      <a:hlink>
        <a:srgbClr val="0563C1"/>
      </a:hlink>
      <a:folHlink>
        <a:srgbClr val="954F72"/>
      </a:folHlink>
    </a:clrScheme>
    <a:fontScheme name="M&amp;S">
      <a:majorFont>
        <a:latin typeface="MS London"/>
        <a:ea typeface=""/>
        <a:cs typeface=""/>
      </a:majorFont>
      <a:minorFont>
        <a:latin typeface="MS Londo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S Brand Template AW2014.potx" id="{42F95F14-0368-4A6C-AB52-D22DF8659954}" vid="{6C26FF14-C365-4E14-92D0-F24561A5158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499</TotalTime>
  <Words>750</Words>
  <Application>Microsoft Office PowerPoint</Application>
  <PresentationFormat>Widescreen</PresentationFormat>
  <Paragraphs>107</Paragraphs>
  <Slides>3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3</vt:i4>
      </vt:variant>
    </vt:vector>
  </HeadingPairs>
  <TitlesOfParts>
    <vt:vector size="5" baseType="lpstr">
      <vt:lpstr>Slice</vt:lpstr>
      <vt:lpstr>c. Slides</vt:lpstr>
      <vt:lpstr>PowerPoint Presentation</vt:lpstr>
      <vt:lpstr>PowerPoint Presentation</vt:lpstr>
      <vt:lpstr>PowerPoint Presentation</vt:lpstr>
    </vt:vector>
  </TitlesOfParts>
  <Company>TC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oke  Dutta</dc:creator>
  <cp:lastModifiedBy>Debashis  Das</cp:lastModifiedBy>
  <cp:revision>601</cp:revision>
  <dcterms:created xsi:type="dcterms:W3CDTF">2019-10-24T09:43:39Z</dcterms:created>
  <dcterms:modified xsi:type="dcterms:W3CDTF">2020-08-25T10:52:51Z</dcterms:modified>
</cp:coreProperties>
</file>